
<file path=[Content_Types].xml><?xml version="1.0" encoding="utf-8"?>
<Types xmlns="http://schemas.openxmlformats.org/package/2006/content-types">
  <Default Extension="jpeg" ContentType="image/jpeg"/>
  <Default Extension="mp3" ContentType="audio/mpeg"/>
  <Default Extension="png" ContentType="image/png"/>
  <Default Extension="rels" ContentType="application/vnd.openxmlformats-package.relationships+xml"/>
  <Default Extension="svg" ContentType="image/svg+xml"/>
  <Default Extension="tmp" ContentType="image/png"/>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webextensions/webextension3.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7" r:id="rId6"/>
  </p:sldMasterIdLst>
  <p:notesMasterIdLst>
    <p:notesMasterId r:id="rId13"/>
  </p:notesMasterIdLst>
  <p:handoutMasterIdLst>
    <p:handoutMasterId r:id="rId14"/>
  </p:handoutMasterIdLst>
  <p:sldIdLst>
    <p:sldId id="860" r:id="rId7"/>
    <p:sldId id="863" r:id="rId8"/>
    <p:sldId id="864" r:id="rId9"/>
    <p:sldId id="867" r:id="rId10"/>
    <p:sldId id="866" r:id="rId11"/>
    <p:sldId id="859" r:id="rId12"/>
  </p:sldIdLst>
  <p:sldSz cx="12192000" cy="6858000"/>
  <p:notesSz cx="6858000" cy="9144000"/>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Overview" id="{C5F3523F-1D1B-4FC7-9B43-A43062B6EBF1}">
          <p14:sldIdLst>
            <p14:sldId id="860"/>
            <p14:sldId id="863"/>
            <p14:sldId id="864"/>
            <p14:sldId id="867"/>
            <p14:sldId id="866"/>
            <p14:sldId id="859"/>
          </p14:sldIdLst>
        </p14:section>
      </p14:sectionLst>
    </p:ext>
    <p:ext uri="{EFAFB233-063F-42B5-8137-9DF3F51BA10A}">
      <p15:sldGuideLst xmlns:p15="http://schemas.microsoft.com/office/powerpoint/2012/main">
        <p15:guide id="1" orient="horz" pos="2112" userDrawn="1">
          <p15:clr>
            <a:srgbClr val="A4A3A4"/>
          </p15:clr>
        </p15:guide>
        <p15:guide id="2" pos="3864"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064A2"/>
    <a:srgbClr val="4F81BD"/>
    <a:srgbClr val="D65132"/>
    <a:srgbClr val="FFFFFF"/>
    <a:srgbClr val="1F8AF4"/>
    <a:srgbClr val="D24625"/>
    <a:srgbClr val="35495E"/>
    <a:srgbClr val="DD0031"/>
    <a:srgbClr val="1485C9"/>
    <a:srgbClr val="AF213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30D8783-65AE-45FC-9300-4E9DE62BC37E}" v="1011" dt="2025-02-17T02:24:02.36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547" autoAdjust="0"/>
    <p:restoredTop sz="86098" autoAdjust="0"/>
  </p:normalViewPr>
  <p:slideViewPr>
    <p:cSldViewPr snapToGrid="0">
      <p:cViewPr varScale="1">
        <p:scale>
          <a:sx n="164" d="100"/>
          <a:sy n="164" d="100"/>
        </p:scale>
        <p:origin x="156" y="804"/>
      </p:cViewPr>
      <p:guideLst>
        <p:guide orient="horz" pos="2112"/>
        <p:guide pos="3864"/>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8598"/>
    </p:cViewPr>
  </p:sorterViewPr>
  <p:notesViewPr>
    <p:cSldViewPr snapToGrid="0">
      <p:cViewPr varScale="1">
        <p:scale>
          <a:sx n="124" d="100"/>
          <a:sy n="124" d="100"/>
        </p:scale>
        <p:origin x="2904" y="9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5.xml"/><Relationship Id="rId5" Type="http://schemas.openxmlformats.org/officeDocument/2006/relationships/customXml" Target="../customXml/item5.xml"/><Relationship Id="rId15" Type="http://schemas.openxmlformats.org/officeDocument/2006/relationships/tags" Target="tags/tag1.xml"/><Relationship Id="rId10" Type="http://schemas.openxmlformats.org/officeDocument/2006/relationships/slide" Target="slides/slide4.xml"/><Relationship Id="rId19"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handoutMaster" Target="handoutMasters/handout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hn Baluka" userId="7068dd7de4bf55dd" providerId="LiveId" clId="{4F0AAA12-9ED4-4B3F-8A3A-0045B616CB8B}"/>
    <pc:docChg chg="undo custSel modSld modMainMaster">
      <pc:chgData name="John Baluka" userId="7068dd7de4bf55dd" providerId="LiveId" clId="{4F0AAA12-9ED4-4B3F-8A3A-0045B616CB8B}" dt="2025-02-05T21:21:09.290" v="3251"/>
      <pc:docMkLst>
        <pc:docMk/>
      </pc:docMkLst>
      <pc:sldChg chg="modSp mod modNotesTx">
        <pc:chgData name="John Baluka" userId="7068dd7de4bf55dd" providerId="LiveId" clId="{4F0AAA12-9ED4-4B3F-8A3A-0045B616CB8B}" dt="2025-01-29T20:06:25.836" v="3196" actId="207"/>
        <pc:sldMkLst>
          <pc:docMk/>
          <pc:sldMk cId="1948209501" sldId="859"/>
        </pc:sldMkLst>
        <pc:spChg chg="mod">
          <ac:chgData name="John Baluka" userId="7068dd7de4bf55dd" providerId="LiveId" clId="{4F0AAA12-9ED4-4B3F-8A3A-0045B616CB8B}" dt="2025-01-19T18:10:09.799" v="152"/>
          <ac:spMkLst>
            <pc:docMk/>
            <pc:sldMk cId="1948209501" sldId="859"/>
            <ac:spMk id="2" creationId="{08E0EA74-660C-F1E7-9549-EF476072E5ED}"/>
          </ac:spMkLst>
        </pc:spChg>
        <pc:spChg chg="mod">
          <ac:chgData name="John Baluka" userId="7068dd7de4bf55dd" providerId="LiveId" clId="{4F0AAA12-9ED4-4B3F-8A3A-0045B616CB8B}" dt="2025-01-29T20:06:25.836" v="3196" actId="207"/>
          <ac:spMkLst>
            <pc:docMk/>
            <pc:sldMk cId="1948209501" sldId="859"/>
            <ac:spMk id="10" creationId="{06CCCC19-93A4-D972-F98E-4F759A5DED2E}"/>
          </ac:spMkLst>
        </pc:spChg>
        <pc:spChg chg="mod">
          <ac:chgData name="John Baluka" userId="7068dd7de4bf55dd" providerId="LiveId" clId="{4F0AAA12-9ED4-4B3F-8A3A-0045B616CB8B}" dt="2025-01-26T20:29:01.354" v="3157" actId="20577"/>
          <ac:spMkLst>
            <pc:docMk/>
            <pc:sldMk cId="1948209501" sldId="859"/>
            <ac:spMk id="13" creationId="{A2CA8971-563D-57A6-9E33-2BEC4B4A457E}"/>
          </ac:spMkLst>
        </pc:spChg>
        <pc:spChg chg="mod">
          <ac:chgData name="John Baluka" userId="7068dd7de4bf55dd" providerId="LiveId" clId="{4F0AAA12-9ED4-4B3F-8A3A-0045B616CB8B}" dt="2025-01-21T12:40:30.599" v="2903" actId="20577"/>
          <ac:spMkLst>
            <pc:docMk/>
            <pc:sldMk cId="1948209501" sldId="859"/>
            <ac:spMk id="14" creationId="{77BC925A-9DB6-44EE-450C-DD83C8FD63AF}"/>
          </ac:spMkLst>
        </pc:spChg>
        <pc:spChg chg="mod">
          <ac:chgData name="John Baluka" userId="7068dd7de4bf55dd" providerId="LiveId" clId="{4F0AAA12-9ED4-4B3F-8A3A-0045B616CB8B}" dt="2025-01-26T20:29:07.655" v="3160" actId="20577"/>
          <ac:spMkLst>
            <pc:docMk/>
            <pc:sldMk cId="1948209501" sldId="859"/>
            <ac:spMk id="15" creationId="{39778D51-D229-56DC-095E-3DA028E52072}"/>
          </ac:spMkLst>
        </pc:spChg>
        <pc:spChg chg="mod">
          <ac:chgData name="John Baluka" userId="7068dd7de4bf55dd" providerId="LiveId" clId="{4F0AAA12-9ED4-4B3F-8A3A-0045B616CB8B}" dt="2025-01-26T20:21:55.459" v="3022" actId="20577"/>
          <ac:spMkLst>
            <pc:docMk/>
            <pc:sldMk cId="1948209501" sldId="859"/>
            <ac:spMk id="16" creationId="{14ED5C52-6D46-2430-59AF-A4F8FDD3642E}"/>
          </ac:spMkLst>
        </pc:spChg>
        <pc:spChg chg="mod">
          <ac:chgData name="John Baluka" userId="7068dd7de4bf55dd" providerId="LiveId" clId="{4F0AAA12-9ED4-4B3F-8A3A-0045B616CB8B}" dt="2025-01-26T20:30:05.464" v="3164" actId="20577"/>
          <ac:spMkLst>
            <pc:docMk/>
            <pc:sldMk cId="1948209501" sldId="859"/>
            <ac:spMk id="17" creationId="{600105D3-D10A-D1F8-D8E2-A11BE891D7F3}"/>
          </ac:spMkLst>
        </pc:spChg>
        <pc:spChg chg="mod">
          <ac:chgData name="John Baluka" userId="7068dd7de4bf55dd" providerId="LiveId" clId="{4F0AAA12-9ED4-4B3F-8A3A-0045B616CB8B}" dt="2025-01-26T20:21:25.792" v="3015" actId="404"/>
          <ac:spMkLst>
            <pc:docMk/>
            <pc:sldMk cId="1948209501" sldId="859"/>
            <ac:spMk id="18" creationId="{C4685D4F-CA23-2842-BE47-19D93DEAF903}"/>
          </ac:spMkLst>
        </pc:spChg>
      </pc:sldChg>
      <pc:sldChg chg="addSp delSp modSp mod modAnim modNotesTx">
        <pc:chgData name="John Baluka" userId="7068dd7de4bf55dd" providerId="LiveId" clId="{4F0AAA12-9ED4-4B3F-8A3A-0045B616CB8B}" dt="2025-02-05T16:52:54.962" v="3228"/>
        <pc:sldMkLst>
          <pc:docMk/>
          <pc:sldMk cId="623836634" sldId="860"/>
        </pc:sldMkLst>
        <pc:spChg chg="mod">
          <ac:chgData name="John Baluka" userId="7068dd7de4bf55dd" providerId="LiveId" clId="{4F0AAA12-9ED4-4B3F-8A3A-0045B616CB8B}" dt="2025-01-19T15:26:11.297" v="24" actId="20577"/>
          <ac:spMkLst>
            <pc:docMk/>
            <pc:sldMk cId="623836634" sldId="860"/>
            <ac:spMk id="5" creationId="{E3293B26-2E0E-77F8-390F-72519693D375}"/>
          </ac:spMkLst>
        </pc:spChg>
        <pc:spChg chg="add mod">
          <ac:chgData name="John Baluka" userId="7068dd7de4bf55dd" providerId="LiveId" clId="{4F0AAA12-9ED4-4B3F-8A3A-0045B616CB8B}" dt="2025-01-19T21:09:50.567" v="768" actId="1076"/>
          <ac:spMkLst>
            <pc:docMk/>
            <pc:sldMk cId="623836634" sldId="860"/>
            <ac:spMk id="52" creationId="{E6939714-9274-5D21-AFE8-582666862D62}"/>
          </ac:spMkLst>
        </pc:spChg>
        <pc:spChg chg="add mod">
          <ac:chgData name="John Baluka" userId="7068dd7de4bf55dd" providerId="LiveId" clId="{4F0AAA12-9ED4-4B3F-8A3A-0045B616CB8B}" dt="2025-01-19T21:38:28.770" v="821" actId="207"/>
          <ac:spMkLst>
            <pc:docMk/>
            <pc:sldMk cId="623836634" sldId="860"/>
            <ac:spMk id="56" creationId="{5874DE38-7DCC-E1DC-721E-D9858FE5F4AE}"/>
          </ac:spMkLst>
        </pc:spChg>
        <pc:spChg chg="add mod">
          <ac:chgData name="John Baluka" userId="7068dd7de4bf55dd" providerId="LiveId" clId="{4F0AAA12-9ED4-4B3F-8A3A-0045B616CB8B}" dt="2025-01-19T21:38:28.770" v="821" actId="207"/>
          <ac:spMkLst>
            <pc:docMk/>
            <pc:sldMk cId="623836634" sldId="860"/>
            <ac:spMk id="57" creationId="{B324E3CD-BE94-4633-C577-5A9E529873C1}"/>
          </ac:spMkLst>
        </pc:spChg>
        <pc:spChg chg="add mod">
          <ac:chgData name="John Baluka" userId="7068dd7de4bf55dd" providerId="LiveId" clId="{4F0AAA12-9ED4-4B3F-8A3A-0045B616CB8B}" dt="2025-01-19T21:38:28.770" v="821" actId="207"/>
          <ac:spMkLst>
            <pc:docMk/>
            <pc:sldMk cId="623836634" sldId="860"/>
            <ac:spMk id="58" creationId="{8FDDDD3E-7099-77E3-C6BE-FBE19254EC9F}"/>
          </ac:spMkLst>
        </pc:spChg>
        <pc:spChg chg="add mod">
          <ac:chgData name="John Baluka" userId="7068dd7de4bf55dd" providerId="LiveId" clId="{4F0AAA12-9ED4-4B3F-8A3A-0045B616CB8B}" dt="2025-01-19T21:03:49.213" v="720"/>
          <ac:spMkLst>
            <pc:docMk/>
            <pc:sldMk cId="623836634" sldId="860"/>
            <ac:spMk id="64" creationId="{A0BFCA0D-C266-9F35-3FB4-8A4E081BAF4D}"/>
          </ac:spMkLst>
        </pc:spChg>
        <pc:spChg chg="add mod">
          <ac:chgData name="John Baluka" userId="7068dd7de4bf55dd" providerId="LiveId" clId="{4F0AAA12-9ED4-4B3F-8A3A-0045B616CB8B}" dt="2025-01-19T20:38:24.429" v="706" actId="14100"/>
          <ac:spMkLst>
            <pc:docMk/>
            <pc:sldMk cId="623836634" sldId="860"/>
            <ac:spMk id="68" creationId="{26CACE8C-E5EC-5B05-CD84-E0DF9EAFD04C}"/>
          </ac:spMkLst>
        </pc:spChg>
        <pc:spChg chg="add mod">
          <ac:chgData name="John Baluka" userId="7068dd7de4bf55dd" providerId="LiveId" clId="{4F0AAA12-9ED4-4B3F-8A3A-0045B616CB8B}" dt="2025-01-19T19:55:52.645" v="447" actId="1036"/>
          <ac:spMkLst>
            <pc:docMk/>
            <pc:sldMk cId="623836634" sldId="860"/>
            <ac:spMk id="73" creationId="{5574DA0E-D083-4C6F-3B7E-3E8E4AF6BD59}"/>
          </ac:spMkLst>
        </pc:spChg>
        <pc:spChg chg="add mod">
          <ac:chgData name="John Baluka" userId="7068dd7de4bf55dd" providerId="LiveId" clId="{4F0AAA12-9ED4-4B3F-8A3A-0045B616CB8B}" dt="2025-01-19T19:55:52.645" v="447" actId="1036"/>
          <ac:spMkLst>
            <pc:docMk/>
            <pc:sldMk cId="623836634" sldId="860"/>
            <ac:spMk id="74" creationId="{F82AC8D9-F699-6401-BD5B-EEFF15E8EED1}"/>
          </ac:spMkLst>
        </pc:spChg>
        <pc:spChg chg="add mod">
          <ac:chgData name="John Baluka" userId="7068dd7de4bf55dd" providerId="LiveId" clId="{4F0AAA12-9ED4-4B3F-8A3A-0045B616CB8B}" dt="2025-01-19T19:52:02.143" v="411" actId="14100"/>
          <ac:spMkLst>
            <pc:docMk/>
            <pc:sldMk cId="623836634" sldId="860"/>
            <ac:spMk id="79" creationId="{47159645-96E2-084F-3D8A-27C217A39518}"/>
          </ac:spMkLst>
        </pc:spChg>
        <pc:spChg chg="add mod">
          <ac:chgData name="John Baluka" userId="7068dd7de4bf55dd" providerId="LiveId" clId="{4F0AAA12-9ED4-4B3F-8A3A-0045B616CB8B}" dt="2025-01-19T20:05:07.398" v="534" actId="242"/>
          <ac:spMkLst>
            <pc:docMk/>
            <pc:sldMk cId="623836634" sldId="860"/>
            <ac:spMk id="104" creationId="{AB968858-68DD-8F15-01C1-CAFCDB0A3272}"/>
          </ac:spMkLst>
        </pc:spChg>
        <pc:spChg chg="add mod">
          <ac:chgData name="John Baluka" userId="7068dd7de4bf55dd" providerId="LiveId" clId="{4F0AAA12-9ED4-4B3F-8A3A-0045B616CB8B}" dt="2025-01-19T20:05:01.758" v="533" actId="242"/>
          <ac:spMkLst>
            <pc:docMk/>
            <pc:sldMk cId="623836634" sldId="860"/>
            <ac:spMk id="105" creationId="{6BAE7637-64C4-C17F-F287-DF1D2FB8EAC9}"/>
          </ac:spMkLst>
        </pc:spChg>
        <pc:spChg chg="add mod ord">
          <ac:chgData name="John Baluka" userId="7068dd7de4bf55dd" providerId="LiveId" clId="{4F0AAA12-9ED4-4B3F-8A3A-0045B616CB8B}" dt="2025-01-19T20:38:48.108" v="711" actId="14100"/>
          <ac:spMkLst>
            <pc:docMk/>
            <pc:sldMk cId="623836634" sldId="860"/>
            <ac:spMk id="112" creationId="{D0505DAD-E8EA-EA94-0DF4-C1740C219751}"/>
          </ac:spMkLst>
        </pc:spChg>
        <pc:spChg chg="add mod">
          <ac:chgData name="John Baluka" userId="7068dd7de4bf55dd" providerId="LiveId" clId="{4F0AAA12-9ED4-4B3F-8A3A-0045B616CB8B}" dt="2025-02-05T03:28:24.843" v="3209" actId="20577"/>
          <ac:spMkLst>
            <pc:docMk/>
            <pc:sldMk cId="623836634" sldId="860"/>
            <ac:spMk id="1046" creationId="{C7F145F6-4646-8B16-10B4-141801A69190}"/>
          </ac:spMkLst>
        </pc:spChg>
        <pc:spChg chg="add mod">
          <ac:chgData name="John Baluka" userId="7068dd7de4bf55dd" providerId="LiveId" clId="{4F0AAA12-9ED4-4B3F-8A3A-0045B616CB8B}" dt="2025-01-19T21:05:34.920" v="755" actId="20577"/>
          <ac:spMkLst>
            <pc:docMk/>
            <pc:sldMk cId="623836634" sldId="860"/>
            <ac:spMk id="1051" creationId="{0622FBF8-304D-1082-3D39-E32DA6F082B2}"/>
          </ac:spMkLst>
        </pc:spChg>
        <pc:spChg chg="add mod">
          <ac:chgData name="John Baluka" userId="7068dd7de4bf55dd" providerId="LiveId" clId="{4F0AAA12-9ED4-4B3F-8A3A-0045B616CB8B}" dt="2025-02-05T03:30:33.086" v="3217" actId="1076"/>
          <ac:spMkLst>
            <pc:docMk/>
            <pc:sldMk cId="623836634" sldId="860"/>
            <ac:spMk id="1052" creationId="{C0DA6DC2-B1AA-D613-9323-13DEC027A7A8}"/>
          </ac:spMkLst>
        </pc:spChg>
        <pc:picChg chg="mod">
          <ac:chgData name="John Baluka" userId="7068dd7de4bf55dd" providerId="LiveId" clId="{4F0AAA12-9ED4-4B3F-8A3A-0045B616CB8B}" dt="2025-01-19T21:16:56.503" v="820" actId="1036"/>
          <ac:picMkLst>
            <pc:docMk/>
            <pc:sldMk cId="623836634" sldId="860"/>
            <ac:picMk id="53" creationId="{ADDEEC15-CFDD-14A9-2B41-E615D00314DB}"/>
          </ac:picMkLst>
        </pc:picChg>
        <pc:picChg chg="add mod">
          <ac:chgData name="John Baluka" userId="7068dd7de4bf55dd" providerId="LiveId" clId="{4F0AAA12-9ED4-4B3F-8A3A-0045B616CB8B}" dt="2025-01-19T21:16:56.503" v="820" actId="1036"/>
          <ac:picMkLst>
            <pc:docMk/>
            <pc:sldMk cId="623836634" sldId="860"/>
            <ac:picMk id="54" creationId="{8B1B9653-FC08-4B9F-6304-75033F6E6A8E}"/>
          </ac:picMkLst>
        </pc:picChg>
        <pc:picChg chg="add mod">
          <ac:chgData name="John Baluka" userId="7068dd7de4bf55dd" providerId="LiveId" clId="{4F0AAA12-9ED4-4B3F-8A3A-0045B616CB8B}" dt="2025-01-19T21:16:56.503" v="820" actId="1036"/>
          <ac:picMkLst>
            <pc:docMk/>
            <pc:sldMk cId="623836634" sldId="860"/>
            <ac:picMk id="55" creationId="{3FB7102D-892F-86FB-6FD9-42861CA655FB}"/>
          </ac:picMkLst>
        </pc:picChg>
        <pc:picChg chg="add mod">
          <ac:chgData name="John Baluka" userId="7068dd7de4bf55dd" providerId="LiveId" clId="{4F0AAA12-9ED4-4B3F-8A3A-0045B616CB8B}" dt="2025-01-19T20:28:57.665" v="665" actId="14100"/>
          <ac:picMkLst>
            <pc:docMk/>
            <pc:sldMk cId="623836634" sldId="860"/>
            <ac:picMk id="59" creationId="{408969A8-4E6E-9ED1-CC8F-C1AFEB45BFFE}"/>
          </ac:picMkLst>
        </pc:picChg>
        <pc:picChg chg="add mod">
          <ac:chgData name="John Baluka" userId="7068dd7de4bf55dd" providerId="LiveId" clId="{4F0AAA12-9ED4-4B3F-8A3A-0045B616CB8B}" dt="2025-01-19T20:06:29.112" v="538" actId="1076"/>
          <ac:picMkLst>
            <pc:docMk/>
            <pc:sldMk cId="623836634" sldId="860"/>
            <ac:picMk id="60" creationId="{927EC4DF-4CA5-5F24-9CAF-DAD872F16C31}"/>
          </ac:picMkLst>
        </pc:picChg>
        <pc:picChg chg="add mod">
          <ac:chgData name="John Baluka" userId="7068dd7de4bf55dd" providerId="LiveId" clId="{4F0AAA12-9ED4-4B3F-8A3A-0045B616CB8B}" dt="2025-01-19T19:55:52.645" v="447" actId="1036"/>
          <ac:picMkLst>
            <pc:docMk/>
            <pc:sldMk cId="623836634" sldId="860"/>
            <ac:picMk id="75" creationId="{AEA132D5-5831-F2E0-243F-335423F76350}"/>
          </ac:picMkLst>
        </pc:picChg>
        <pc:picChg chg="add mod">
          <ac:chgData name="John Baluka" userId="7068dd7de4bf55dd" providerId="LiveId" clId="{4F0AAA12-9ED4-4B3F-8A3A-0045B616CB8B}" dt="2025-01-19T19:55:52.645" v="447" actId="1036"/>
          <ac:picMkLst>
            <pc:docMk/>
            <pc:sldMk cId="623836634" sldId="860"/>
            <ac:picMk id="76" creationId="{2FFE37C3-DA3B-74EE-8FA1-364829E5D654}"/>
          </ac:picMkLst>
        </pc:picChg>
        <pc:picChg chg="add mod modCrop">
          <ac:chgData name="John Baluka" userId="7068dd7de4bf55dd" providerId="LiveId" clId="{4F0AAA12-9ED4-4B3F-8A3A-0045B616CB8B}" dt="2025-01-19T19:53:24.702" v="421" actId="1076"/>
          <ac:picMkLst>
            <pc:docMk/>
            <pc:sldMk cId="623836634" sldId="860"/>
            <ac:picMk id="91" creationId="{C1FF1256-0142-5F98-5B06-A8CBBAF3FF88}"/>
          </ac:picMkLst>
        </pc:picChg>
        <pc:picChg chg="add mod">
          <ac:chgData name="John Baluka" userId="7068dd7de4bf55dd" providerId="LiveId" clId="{4F0AAA12-9ED4-4B3F-8A3A-0045B616CB8B}" dt="2025-01-19T20:02:06.701" v="506" actId="1076"/>
          <ac:picMkLst>
            <pc:docMk/>
            <pc:sldMk cId="623836634" sldId="860"/>
            <ac:picMk id="1026" creationId="{F532F2DB-B674-0765-8EF5-50CF59C485F8}"/>
          </ac:picMkLst>
        </pc:picChg>
        <pc:picChg chg="add mod">
          <ac:chgData name="John Baluka" userId="7068dd7de4bf55dd" providerId="LiveId" clId="{4F0AAA12-9ED4-4B3F-8A3A-0045B616CB8B}" dt="2025-01-19T20:04:44.066" v="531" actId="14100"/>
          <ac:picMkLst>
            <pc:docMk/>
            <pc:sldMk cId="623836634" sldId="860"/>
            <ac:picMk id="1028" creationId="{F69A53B9-5063-83F7-FA88-2154265A9E13}"/>
          </ac:picMkLst>
        </pc:picChg>
        <pc:picChg chg="add mod ord">
          <ac:chgData name="John Baluka" userId="7068dd7de4bf55dd" providerId="LiveId" clId="{4F0AAA12-9ED4-4B3F-8A3A-0045B616CB8B}" dt="2025-01-19T20:38:30.471" v="707" actId="1076"/>
          <ac:picMkLst>
            <pc:docMk/>
            <pc:sldMk cId="623836634" sldId="860"/>
            <ac:picMk id="1034" creationId="{4106299D-7FB4-E241-8FEC-4F83B521082D}"/>
          </ac:picMkLst>
        </pc:picChg>
        <pc:picChg chg="add mod">
          <ac:chgData name="John Baluka" userId="7068dd7de4bf55dd" providerId="LiveId" clId="{4F0AAA12-9ED4-4B3F-8A3A-0045B616CB8B}" dt="2025-01-19T19:55:52.645" v="447" actId="1036"/>
          <ac:picMkLst>
            <pc:docMk/>
            <pc:sldMk cId="623836634" sldId="860"/>
            <ac:picMk id="1036" creationId="{02E5A054-501A-38A6-2A36-75AF78E6E647}"/>
          </ac:picMkLst>
        </pc:picChg>
        <pc:picChg chg="add mod">
          <ac:chgData name="John Baluka" userId="7068dd7de4bf55dd" providerId="LiveId" clId="{4F0AAA12-9ED4-4B3F-8A3A-0045B616CB8B}" dt="2025-01-19T19:55:52.645" v="447" actId="1036"/>
          <ac:picMkLst>
            <pc:docMk/>
            <pc:sldMk cId="623836634" sldId="860"/>
            <ac:picMk id="1040" creationId="{76D10BDF-3C9D-8E75-5F1B-351BE53DE308}"/>
          </ac:picMkLst>
        </pc:picChg>
        <pc:picChg chg="add mod">
          <ac:chgData name="John Baluka" userId="7068dd7de4bf55dd" providerId="LiveId" clId="{4F0AAA12-9ED4-4B3F-8A3A-0045B616CB8B}" dt="2025-01-19T19:55:52.645" v="447" actId="1036"/>
          <ac:picMkLst>
            <pc:docMk/>
            <pc:sldMk cId="623836634" sldId="860"/>
            <ac:picMk id="1042" creationId="{2A4A30CE-6B76-D12D-14B8-5204466568FF}"/>
          </ac:picMkLst>
        </pc:picChg>
        <pc:picChg chg="add mod">
          <ac:chgData name="John Baluka" userId="7068dd7de4bf55dd" providerId="LiveId" clId="{4F0AAA12-9ED4-4B3F-8A3A-0045B616CB8B}" dt="2025-01-19T20:38:51.553" v="712" actId="1076"/>
          <ac:picMkLst>
            <pc:docMk/>
            <pc:sldMk cId="623836634" sldId="860"/>
            <ac:picMk id="1044" creationId="{72305F47-BBEA-A386-E257-206DC6587030}"/>
          </ac:picMkLst>
        </pc:picChg>
        <pc:picChg chg="add mod">
          <ac:chgData name="John Baluka" userId="7068dd7de4bf55dd" providerId="LiveId" clId="{4F0AAA12-9ED4-4B3F-8A3A-0045B616CB8B}" dt="2025-01-19T20:37:53.965" v="700" actId="1076"/>
          <ac:picMkLst>
            <pc:docMk/>
            <pc:sldMk cId="623836634" sldId="860"/>
            <ac:picMk id="1048" creationId="{81C6BF79-5790-9E9B-AEAC-1850DD3D1FD7}"/>
          </ac:picMkLst>
        </pc:picChg>
        <pc:cxnChg chg="mod">
          <ac:chgData name="John Baluka" userId="7068dd7de4bf55dd" providerId="LiveId" clId="{4F0AAA12-9ED4-4B3F-8A3A-0045B616CB8B}" dt="2025-01-19T21:09:50.567" v="768" actId="1076"/>
          <ac:cxnSpMkLst>
            <pc:docMk/>
            <pc:sldMk cId="623836634" sldId="860"/>
            <ac:cxnSpMk id="51" creationId="{F112FAB8-8D57-4D41-3A5B-B539F56C5046}"/>
          </ac:cxnSpMkLst>
        </pc:cxnChg>
        <pc:cxnChg chg="mod">
          <ac:chgData name="John Baluka" userId="7068dd7de4bf55dd" providerId="LiveId" clId="{4F0AAA12-9ED4-4B3F-8A3A-0045B616CB8B}" dt="2025-01-19T20:39:23.769" v="713" actId="208"/>
          <ac:cxnSpMkLst>
            <pc:docMk/>
            <pc:sldMk cId="623836634" sldId="860"/>
            <ac:cxnSpMk id="61" creationId="{C66C94F6-DC8D-6B4D-1A32-D29BCDCB5EF0}"/>
          </ac:cxnSpMkLst>
        </pc:cxnChg>
        <pc:cxnChg chg="mod">
          <ac:chgData name="John Baluka" userId="7068dd7de4bf55dd" providerId="LiveId" clId="{4F0AAA12-9ED4-4B3F-8A3A-0045B616CB8B}" dt="2025-01-19T20:39:23.769" v="713" actId="208"/>
          <ac:cxnSpMkLst>
            <pc:docMk/>
            <pc:sldMk cId="623836634" sldId="860"/>
            <ac:cxnSpMk id="62" creationId="{CDDB8B70-071B-3A0E-0BDC-28BA4E699C85}"/>
          </ac:cxnSpMkLst>
        </pc:cxnChg>
        <pc:cxnChg chg="mod">
          <ac:chgData name="John Baluka" userId="7068dd7de4bf55dd" providerId="LiveId" clId="{4F0AAA12-9ED4-4B3F-8A3A-0045B616CB8B}" dt="2025-02-05T03:30:33.086" v="3217" actId="1076"/>
          <ac:cxnSpMkLst>
            <pc:docMk/>
            <pc:sldMk cId="623836634" sldId="860"/>
            <ac:cxnSpMk id="63" creationId="{96F1853D-2C72-8AC3-B2A9-2E72D034FC1D}"/>
          </ac:cxnSpMkLst>
        </pc:cxnChg>
        <pc:cxnChg chg="add mod">
          <ac:chgData name="John Baluka" userId="7068dd7de4bf55dd" providerId="LiveId" clId="{4F0AAA12-9ED4-4B3F-8A3A-0045B616CB8B}" dt="2025-01-19T20:39:23.769" v="713" actId="208"/>
          <ac:cxnSpMkLst>
            <pc:docMk/>
            <pc:sldMk cId="623836634" sldId="860"/>
            <ac:cxnSpMk id="65" creationId="{1B55570A-F769-9CF8-8C42-934A7B2C8277}"/>
          </ac:cxnSpMkLst>
        </pc:cxnChg>
        <pc:cxnChg chg="add mod ord">
          <ac:chgData name="John Baluka" userId="7068dd7de4bf55dd" providerId="LiveId" clId="{4F0AAA12-9ED4-4B3F-8A3A-0045B616CB8B}" dt="2025-01-19T21:03:56.376" v="721" actId="14100"/>
          <ac:cxnSpMkLst>
            <pc:docMk/>
            <pc:sldMk cId="623836634" sldId="860"/>
            <ac:cxnSpMk id="121" creationId="{ACE0DF72-C376-46D9-72C9-52B6DB77EB1E}"/>
          </ac:cxnSpMkLst>
        </pc:cxnChg>
        <pc:cxnChg chg="add mod">
          <ac:chgData name="John Baluka" userId="7068dd7de4bf55dd" providerId="LiveId" clId="{4F0AAA12-9ED4-4B3F-8A3A-0045B616CB8B}" dt="2025-01-19T20:38:48.108" v="711" actId="14100"/>
          <ac:cxnSpMkLst>
            <pc:docMk/>
            <pc:sldMk cId="623836634" sldId="860"/>
            <ac:cxnSpMk id="126" creationId="{0726BDA0-D97F-D3B6-6D5B-B04670F9AD8E}"/>
          </ac:cxnSpMkLst>
        </pc:cxnChg>
        <pc:cxnChg chg="add mod">
          <ac:chgData name="John Baluka" userId="7068dd7de4bf55dd" providerId="LiveId" clId="{4F0AAA12-9ED4-4B3F-8A3A-0045B616CB8B}" dt="2025-01-19T20:38:24.429" v="706" actId="14100"/>
          <ac:cxnSpMkLst>
            <pc:docMk/>
            <pc:sldMk cId="623836634" sldId="860"/>
            <ac:cxnSpMk id="1025" creationId="{01A1C364-9626-4B94-025A-8223071F5632}"/>
          </ac:cxnSpMkLst>
        </pc:cxnChg>
        <pc:cxnChg chg="add mod">
          <ac:chgData name="John Baluka" userId="7068dd7de4bf55dd" providerId="LiveId" clId="{4F0AAA12-9ED4-4B3F-8A3A-0045B616CB8B}" dt="2025-02-05T03:30:33.086" v="3217" actId="1076"/>
          <ac:cxnSpMkLst>
            <pc:docMk/>
            <pc:sldMk cId="623836634" sldId="860"/>
            <ac:cxnSpMk id="1047" creationId="{E44C741E-8C0C-577B-BEEF-713E74149256}"/>
          </ac:cxnSpMkLst>
        </pc:cxnChg>
      </pc:sldChg>
      <pc:sldChg chg="addSp delSp modSp mod delAnim modAnim modNotesTx">
        <pc:chgData name="John Baluka" userId="7068dd7de4bf55dd" providerId="LiveId" clId="{4F0AAA12-9ED4-4B3F-8A3A-0045B616CB8B}" dt="2025-02-05T16:52:30.375" v="3227"/>
        <pc:sldMkLst>
          <pc:docMk/>
          <pc:sldMk cId="2738592241" sldId="863"/>
        </pc:sldMkLst>
        <pc:spChg chg="mod">
          <ac:chgData name="John Baluka" userId="7068dd7de4bf55dd" providerId="LiveId" clId="{4F0AAA12-9ED4-4B3F-8A3A-0045B616CB8B}" dt="2025-01-19T18:09:19.458" v="118" actId="20577"/>
          <ac:spMkLst>
            <pc:docMk/>
            <pc:sldMk cId="2738592241" sldId="863"/>
            <ac:spMk id="2" creationId="{55B60615-4321-D77A-2A6F-AD942965646B}"/>
          </ac:spMkLst>
        </pc:spChg>
        <pc:spChg chg="mod">
          <ac:chgData name="John Baluka" userId="7068dd7de4bf55dd" providerId="LiveId" clId="{4F0AAA12-9ED4-4B3F-8A3A-0045B616CB8B}" dt="2025-01-19T18:10:30.236" v="155"/>
          <ac:spMkLst>
            <pc:docMk/>
            <pc:sldMk cId="2738592241" sldId="863"/>
            <ac:spMk id="4" creationId="{8AF3872E-F004-608A-BB44-C8A2C69A7697}"/>
          </ac:spMkLst>
        </pc:spChg>
        <pc:spChg chg="add mod">
          <ac:chgData name="John Baluka" userId="7068dd7de4bf55dd" providerId="LiveId" clId="{4F0AAA12-9ED4-4B3F-8A3A-0045B616CB8B}" dt="2025-01-19T23:49:22.228" v="1725" actId="14100"/>
          <ac:spMkLst>
            <pc:docMk/>
            <pc:sldMk cId="2738592241" sldId="863"/>
            <ac:spMk id="10" creationId="{24026E8A-4158-F41A-922A-31D8910F1938}"/>
          </ac:spMkLst>
        </pc:spChg>
        <pc:spChg chg="add mod">
          <ac:chgData name="John Baluka" userId="7068dd7de4bf55dd" providerId="LiveId" clId="{4F0AAA12-9ED4-4B3F-8A3A-0045B616CB8B}" dt="2025-01-20T12:12:05.689" v="1848" actId="14100"/>
          <ac:spMkLst>
            <pc:docMk/>
            <pc:sldMk cId="2738592241" sldId="863"/>
            <ac:spMk id="11" creationId="{585E30C8-81C0-C7A6-9434-B380659F5FB1}"/>
          </ac:spMkLst>
        </pc:spChg>
        <pc:spChg chg="add mod">
          <ac:chgData name="John Baluka" userId="7068dd7de4bf55dd" providerId="LiveId" clId="{4F0AAA12-9ED4-4B3F-8A3A-0045B616CB8B}" dt="2025-01-19T23:35:53.741" v="1662" actId="208"/>
          <ac:spMkLst>
            <pc:docMk/>
            <pc:sldMk cId="2738592241" sldId="863"/>
            <ac:spMk id="12" creationId="{45D427E9-C2E3-FF7E-C245-D917A991F54D}"/>
          </ac:spMkLst>
        </pc:spChg>
        <pc:spChg chg="add mod">
          <ac:chgData name="John Baluka" userId="7068dd7de4bf55dd" providerId="LiveId" clId="{4F0AAA12-9ED4-4B3F-8A3A-0045B616CB8B}" dt="2025-01-19T23:35:53.741" v="1662" actId="208"/>
          <ac:spMkLst>
            <pc:docMk/>
            <pc:sldMk cId="2738592241" sldId="863"/>
            <ac:spMk id="16" creationId="{1DB83F5B-CE13-9EFD-E33D-C93EBDA073E3}"/>
          </ac:spMkLst>
        </pc:spChg>
        <pc:spChg chg="add mod">
          <ac:chgData name="John Baluka" userId="7068dd7de4bf55dd" providerId="LiveId" clId="{4F0AAA12-9ED4-4B3F-8A3A-0045B616CB8B}" dt="2025-01-19T23:35:53.741" v="1662" actId="208"/>
          <ac:spMkLst>
            <pc:docMk/>
            <pc:sldMk cId="2738592241" sldId="863"/>
            <ac:spMk id="17" creationId="{5A513991-AC71-B0C2-6C57-209C92FCE036}"/>
          </ac:spMkLst>
        </pc:spChg>
        <pc:spChg chg="add mod">
          <ac:chgData name="John Baluka" userId="7068dd7de4bf55dd" providerId="LiveId" clId="{4F0AAA12-9ED4-4B3F-8A3A-0045B616CB8B}" dt="2025-01-19T23:46:37.544" v="1711" actId="14100"/>
          <ac:spMkLst>
            <pc:docMk/>
            <pc:sldMk cId="2738592241" sldId="863"/>
            <ac:spMk id="45" creationId="{E40E9B74-6AB2-45BF-4CF9-BBF2642DDB0D}"/>
          </ac:spMkLst>
        </pc:spChg>
        <pc:spChg chg="add mod ord">
          <ac:chgData name="John Baluka" userId="7068dd7de4bf55dd" providerId="LiveId" clId="{4F0AAA12-9ED4-4B3F-8A3A-0045B616CB8B}" dt="2025-01-19T23:58:40.866" v="1822" actId="1076"/>
          <ac:spMkLst>
            <pc:docMk/>
            <pc:sldMk cId="2738592241" sldId="863"/>
            <ac:spMk id="63" creationId="{D668DEED-8BED-9099-0EDB-C149DA51E696}"/>
          </ac:spMkLst>
        </pc:spChg>
        <pc:spChg chg="add mod">
          <ac:chgData name="John Baluka" userId="7068dd7de4bf55dd" providerId="LiveId" clId="{4F0AAA12-9ED4-4B3F-8A3A-0045B616CB8B}" dt="2025-01-20T12:10:39.334" v="1841" actId="1036"/>
          <ac:spMkLst>
            <pc:docMk/>
            <pc:sldMk cId="2738592241" sldId="863"/>
            <ac:spMk id="65" creationId="{63AA2525-6CD5-BAD7-76C3-A695FB8FA99C}"/>
          </ac:spMkLst>
        </pc:spChg>
        <pc:picChg chg="add mod ord">
          <ac:chgData name="John Baluka" userId="7068dd7de4bf55dd" providerId="LiveId" clId="{4F0AAA12-9ED4-4B3F-8A3A-0045B616CB8B}" dt="2025-01-19T23:31:04.186" v="1643" actId="167"/>
          <ac:picMkLst>
            <pc:docMk/>
            <pc:sldMk cId="2738592241" sldId="863"/>
            <ac:picMk id="39" creationId="{EC8055BC-CE21-07CC-5C0B-8AC4A61B85A5}"/>
          </ac:picMkLst>
        </pc:picChg>
        <pc:picChg chg="add mod ord">
          <ac:chgData name="John Baluka" userId="7068dd7de4bf55dd" providerId="LiveId" clId="{4F0AAA12-9ED4-4B3F-8A3A-0045B616CB8B}" dt="2025-01-19T23:46:29.779" v="1710" actId="166"/>
          <ac:picMkLst>
            <pc:docMk/>
            <pc:sldMk cId="2738592241" sldId="863"/>
            <ac:picMk id="44" creationId="{9754F065-F12A-1F34-EBF8-55C8437E0DC2}"/>
          </ac:picMkLst>
        </pc:picChg>
        <pc:picChg chg="add mod">
          <ac:chgData name="John Baluka" userId="7068dd7de4bf55dd" providerId="LiveId" clId="{4F0AAA12-9ED4-4B3F-8A3A-0045B616CB8B}" dt="2025-01-19T23:57:50.580" v="1810" actId="1076"/>
          <ac:picMkLst>
            <pc:docMk/>
            <pc:sldMk cId="2738592241" sldId="863"/>
            <ac:picMk id="62" creationId="{8C09E27B-D8E5-32F4-81B8-EAA336C6B4D8}"/>
          </ac:picMkLst>
        </pc:picChg>
        <pc:cxnChg chg="add mod">
          <ac:chgData name="John Baluka" userId="7068dd7de4bf55dd" providerId="LiveId" clId="{4F0AAA12-9ED4-4B3F-8A3A-0045B616CB8B}" dt="2025-01-20T12:12:05.689" v="1848" actId="14100"/>
          <ac:cxnSpMkLst>
            <pc:docMk/>
            <pc:sldMk cId="2738592241" sldId="863"/>
            <ac:cxnSpMk id="14" creationId="{A7735282-E69C-1805-E17F-6EB530A337CD}"/>
          </ac:cxnSpMkLst>
        </pc:cxnChg>
        <pc:cxnChg chg="add mod">
          <ac:chgData name="John Baluka" userId="7068dd7de4bf55dd" providerId="LiveId" clId="{4F0AAA12-9ED4-4B3F-8A3A-0045B616CB8B}" dt="2025-01-20T12:10:07.136" v="1833" actId="14100"/>
          <ac:cxnSpMkLst>
            <pc:docMk/>
            <pc:sldMk cId="2738592241" sldId="863"/>
            <ac:cxnSpMk id="33" creationId="{08AB1A26-897E-5461-A2C3-9490202807B0}"/>
          </ac:cxnSpMkLst>
        </pc:cxnChg>
        <pc:cxnChg chg="add mod">
          <ac:chgData name="John Baluka" userId="7068dd7de4bf55dd" providerId="LiveId" clId="{4F0AAA12-9ED4-4B3F-8A3A-0045B616CB8B}" dt="2025-01-19T23:47:07.856" v="1714" actId="14100"/>
          <ac:cxnSpMkLst>
            <pc:docMk/>
            <pc:sldMk cId="2738592241" sldId="863"/>
            <ac:cxnSpMk id="46" creationId="{0AA789C0-2980-A5B0-3AE9-46F56D1E3870}"/>
          </ac:cxnSpMkLst>
        </pc:cxnChg>
        <pc:cxnChg chg="add mod">
          <ac:chgData name="John Baluka" userId="7068dd7de4bf55dd" providerId="LiveId" clId="{4F0AAA12-9ED4-4B3F-8A3A-0045B616CB8B}" dt="2025-01-19T23:49:22.228" v="1725" actId="14100"/>
          <ac:cxnSpMkLst>
            <pc:docMk/>
            <pc:sldMk cId="2738592241" sldId="863"/>
            <ac:cxnSpMk id="57" creationId="{E3619932-55D1-3162-C735-A351790D3BFC}"/>
          </ac:cxnSpMkLst>
        </pc:cxnChg>
      </pc:sldChg>
      <pc:sldChg chg="addSp delSp modSp mod modAnim modNotesTx">
        <pc:chgData name="John Baluka" userId="7068dd7de4bf55dd" providerId="LiveId" clId="{4F0AAA12-9ED4-4B3F-8A3A-0045B616CB8B}" dt="2025-02-05T21:21:09.290" v="3251"/>
        <pc:sldMkLst>
          <pc:docMk/>
          <pc:sldMk cId="496482172" sldId="864"/>
        </pc:sldMkLst>
        <pc:spChg chg="mod">
          <ac:chgData name="John Baluka" userId="7068dd7de4bf55dd" providerId="LiveId" clId="{4F0AAA12-9ED4-4B3F-8A3A-0045B616CB8B}" dt="2025-01-19T18:09:29.160" v="128" actId="20577"/>
          <ac:spMkLst>
            <pc:docMk/>
            <pc:sldMk cId="496482172" sldId="864"/>
            <ac:spMk id="2" creationId="{0132788E-68DB-D334-DD9C-7FF0C05113D9}"/>
          </ac:spMkLst>
        </pc:spChg>
        <pc:spChg chg="mod">
          <ac:chgData name="John Baluka" userId="7068dd7de4bf55dd" providerId="LiveId" clId="{4F0AAA12-9ED4-4B3F-8A3A-0045B616CB8B}" dt="2025-01-19T18:10:37.056" v="158"/>
          <ac:spMkLst>
            <pc:docMk/>
            <pc:sldMk cId="496482172" sldId="864"/>
            <ac:spMk id="4" creationId="{7ED83DE2-5657-4BD4-B59D-2CF2A64C580E}"/>
          </ac:spMkLst>
        </pc:spChg>
        <pc:spChg chg="add mod">
          <ac:chgData name="John Baluka" userId="7068dd7de4bf55dd" providerId="LiveId" clId="{4F0AAA12-9ED4-4B3F-8A3A-0045B616CB8B}" dt="2025-01-20T12:47:28.961" v="2084" actId="14100"/>
          <ac:spMkLst>
            <pc:docMk/>
            <pc:sldMk cId="496482172" sldId="864"/>
            <ac:spMk id="9" creationId="{959D6A85-7A6D-3DA1-552C-0E76E9DB2DA6}"/>
          </ac:spMkLst>
        </pc:spChg>
        <pc:spChg chg="add mod">
          <ac:chgData name="John Baluka" userId="7068dd7de4bf55dd" providerId="LiveId" clId="{4F0AAA12-9ED4-4B3F-8A3A-0045B616CB8B}" dt="2025-01-20T13:09:24.827" v="2222" actId="1076"/>
          <ac:spMkLst>
            <pc:docMk/>
            <pc:sldMk cId="496482172" sldId="864"/>
            <ac:spMk id="13" creationId="{9AAD6E08-2975-34B7-04AB-0C2BA206AACC}"/>
          </ac:spMkLst>
        </pc:spChg>
        <pc:spChg chg="add mod">
          <ac:chgData name="John Baluka" userId="7068dd7de4bf55dd" providerId="LiveId" clId="{4F0AAA12-9ED4-4B3F-8A3A-0045B616CB8B}" dt="2025-01-20T13:23:53.448" v="2248" actId="1076"/>
          <ac:spMkLst>
            <pc:docMk/>
            <pc:sldMk cId="496482172" sldId="864"/>
            <ac:spMk id="14" creationId="{A2DAA6F3-D1A6-2330-1D76-41BB9475D4E0}"/>
          </ac:spMkLst>
        </pc:spChg>
        <pc:spChg chg="add mod">
          <ac:chgData name="John Baluka" userId="7068dd7de4bf55dd" providerId="LiveId" clId="{4F0AAA12-9ED4-4B3F-8A3A-0045B616CB8B}" dt="2025-01-20T13:23:46.241" v="2247" actId="1076"/>
          <ac:spMkLst>
            <pc:docMk/>
            <pc:sldMk cId="496482172" sldId="864"/>
            <ac:spMk id="15" creationId="{EDA1E9AD-8CFB-D0FE-4657-3139228751A1}"/>
          </ac:spMkLst>
        </pc:spChg>
        <pc:spChg chg="add mod">
          <ac:chgData name="John Baluka" userId="7068dd7de4bf55dd" providerId="LiveId" clId="{4F0AAA12-9ED4-4B3F-8A3A-0045B616CB8B}" dt="2025-01-20T13:57:40.334" v="2522" actId="14100"/>
          <ac:spMkLst>
            <pc:docMk/>
            <pc:sldMk cId="496482172" sldId="864"/>
            <ac:spMk id="16" creationId="{BB3F3250-9D2C-2C53-A94A-5EF023FB7776}"/>
          </ac:spMkLst>
        </pc:spChg>
        <pc:spChg chg="add mod">
          <ac:chgData name="John Baluka" userId="7068dd7de4bf55dd" providerId="LiveId" clId="{4F0AAA12-9ED4-4B3F-8A3A-0045B616CB8B}" dt="2025-01-20T14:24:38.752" v="2614" actId="1035"/>
          <ac:spMkLst>
            <pc:docMk/>
            <pc:sldMk cId="496482172" sldId="864"/>
            <ac:spMk id="20" creationId="{08CB6587-7FEB-760D-94B3-DE16C85B74CF}"/>
          </ac:spMkLst>
        </pc:spChg>
        <pc:spChg chg="add mod">
          <ac:chgData name="John Baluka" userId="7068dd7de4bf55dd" providerId="LiveId" clId="{4F0AAA12-9ED4-4B3F-8A3A-0045B616CB8B}" dt="2025-01-20T14:24:38.752" v="2614" actId="1035"/>
          <ac:spMkLst>
            <pc:docMk/>
            <pc:sldMk cId="496482172" sldId="864"/>
            <ac:spMk id="21" creationId="{616FD2F5-CC3F-58AE-4B7C-8672DEFE20EC}"/>
          </ac:spMkLst>
        </pc:spChg>
        <pc:spChg chg="add mod">
          <ac:chgData name="John Baluka" userId="7068dd7de4bf55dd" providerId="LiveId" clId="{4F0AAA12-9ED4-4B3F-8A3A-0045B616CB8B}" dt="2025-01-20T14:24:38.752" v="2614" actId="1035"/>
          <ac:spMkLst>
            <pc:docMk/>
            <pc:sldMk cId="496482172" sldId="864"/>
            <ac:spMk id="22" creationId="{0D946F41-028E-76C2-20D9-7C96CC3D5F4E}"/>
          </ac:spMkLst>
        </pc:spChg>
        <pc:spChg chg="add mod">
          <ac:chgData name="John Baluka" userId="7068dd7de4bf55dd" providerId="LiveId" clId="{4F0AAA12-9ED4-4B3F-8A3A-0045B616CB8B}" dt="2025-01-20T13:58:53.568" v="2524" actId="1076"/>
          <ac:spMkLst>
            <pc:docMk/>
            <pc:sldMk cId="496482172" sldId="864"/>
            <ac:spMk id="23" creationId="{BB2E8181-4615-4F6E-EA52-806461F2CB06}"/>
          </ac:spMkLst>
        </pc:spChg>
        <pc:spChg chg="add mod">
          <ac:chgData name="John Baluka" userId="7068dd7de4bf55dd" providerId="LiveId" clId="{4F0AAA12-9ED4-4B3F-8A3A-0045B616CB8B}" dt="2025-01-20T13:58:53.568" v="2524" actId="1076"/>
          <ac:spMkLst>
            <pc:docMk/>
            <pc:sldMk cId="496482172" sldId="864"/>
            <ac:spMk id="28" creationId="{B0532E2E-8E8F-FFB1-6E47-D6EC90A8A260}"/>
          </ac:spMkLst>
        </pc:spChg>
        <pc:spChg chg="add mod">
          <ac:chgData name="John Baluka" userId="7068dd7de4bf55dd" providerId="LiveId" clId="{4F0AAA12-9ED4-4B3F-8A3A-0045B616CB8B}" dt="2025-01-20T13:58:53.568" v="2524" actId="1076"/>
          <ac:spMkLst>
            <pc:docMk/>
            <pc:sldMk cId="496482172" sldId="864"/>
            <ac:spMk id="30" creationId="{CEEEC812-82A4-BEFB-A7BA-E99E729434ED}"/>
          </ac:spMkLst>
        </pc:spChg>
        <pc:spChg chg="add mod">
          <ac:chgData name="John Baluka" userId="7068dd7de4bf55dd" providerId="LiveId" clId="{4F0AAA12-9ED4-4B3F-8A3A-0045B616CB8B}" dt="2025-01-20T14:07:08.043" v="2583" actId="20577"/>
          <ac:spMkLst>
            <pc:docMk/>
            <pc:sldMk cId="496482172" sldId="864"/>
            <ac:spMk id="32" creationId="{4E5CBBFE-40CB-0E3C-7C8F-C6E37F10ADA2}"/>
          </ac:spMkLst>
        </pc:spChg>
        <pc:spChg chg="add mod">
          <ac:chgData name="John Baluka" userId="7068dd7de4bf55dd" providerId="LiveId" clId="{4F0AAA12-9ED4-4B3F-8A3A-0045B616CB8B}" dt="2025-01-20T13:58:53.568" v="2524" actId="1076"/>
          <ac:spMkLst>
            <pc:docMk/>
            <pc:sldMk cId="496482172" sldId="864"/>
            <ac:spMk id="34" creationId="{FBE239A6-7D8B-EC96-13AF-340EE689FA22}"/>
          </ac:spMkLst>
        </pc:spChg>
        <pc:spChg chg="mod topLvl">
          <ac:chgData name="John Baluka" userId="7068dd7de4bf55dd" providerId="LiveId" clId="{4F0AAA12-9ED4-4B3F-8A3A-0045B616CB8B}" dt="2025-01-20T14:24:20.039" v="2592" actId="165"/>
          <ac:spMkLst>
            <pc:docMk/>
            <pc:sldMk cId="496482172" sldId="864"/>
            <ac:spMk id="37" creationId="{0644C559-943C-89C3-3ACB-0CBF0324FBB6}"/>
          </ac:spMkLst>
        </pc:spChg>
        <pc:spChg chg="mod topLvl">
          <ac:chgData name="John Baluka" userId="7068dd7de4bf55dd" providerId="LiveId" clId="{4F0AAA12-9ED4-4B3F-8A3A-0045B616CB8B}" dt="2025-01-20T14:24:20.039" v="2592" actId="165"/>
          <ac:spMkLst>
            <pc:docMk/>
            <pc:sldMk cId="496482172" sldId="864"/>
            <ac:spMk id="38" creationId="{61490055-F0DE-6398-BBB9-A9840BD6E1C0}"/>
          </ac:spMkLst>
        </pc:spChg>
        <pc:spChg chg="mod topLvl">
          <ac:chgData name="John Baluka" userId="7068dd7de4bf55dd" providerId="LiveId" clId="{4F0AAA12-9ED4-4B3F-8A3A-0045B616CB8B}" dt="2025-01-20T14:24:20.039" v="2592" actId="165"/>
          <ac:spMkLst>
            <pc:docMk/>
            <pc:sldMk cId="496482172" sldId="864"/>
            <ac:spMk id="39" creationId="{C33092D1-BF52-5F2D-A76D-6BC042AF5E8F}"/>
          </ac:spMkLst>
        </pc:spChg>
        <pc:spChg chg="mod topLvl">
          <ac:chgData name="John Baluka" userId="7068dd7de4bf55dd" providerId="LiveId" clId="{4F0AAA12-9ED4-4B3F-8A3A-0045B616CB8B}" dt="2025-01-20T14:24:20.039" v="2592" actId="165"/>
          <ac:spMkLst>
            <pc:docMk/>
            <pc:sldMk cId="496482172" sldId="864"/>
            <ac:spMk id="40" creationId="{373463B5-9F0C-AF16-AD83-E297CFF1FB25}"/>
          </ac:spMkLst>
        </pc:spChg>
        <pc:spChg chg="mod topLvl">
          <ac:chgData name="John Baluka" userId="7068dd7de4bf55dd" providerId="LiveId" clId="{4F0AAA12-9ED4-4B3F-8A3A-0045B616CB8B}" dt="2025-01-20T14:24:20.039" v="2592" actId="165"/>
          <ac:spMkLst>
            <pc:docMk/>
            <pc:sldMk cId="496482172" sldId="864"/>
            <ac:spMk id="41" creationId="{19EAB7D3-2DC4-4FA6-F2AB-B159E3C6570E}"/>
          </ac:spMkLst>
        </pc:spChg>
        <pc:spChg chg="mod topLvl">
          <ac:chgData name="John Baluka" userId="7068dd7de4bf55dd" providerId="LiveId" clId="{4F0AAA12-9ED4-4B3F-8A3A-0045B616CB8B}" dt="2025-01-20T14:24:20.039" v="2592" actId="165"/>
          <ac:spMkLst>
            <pc:docMk/>
            <pc:sldMk cId="496482172" sldId="864"/>
            <ac:spMk id="42" creationId="{1152F189-4C80-0078-E7CD-4450A0581C8A}"/>
          </ac:spMkLst>
        </pc:spChg>
        <pc:spChg chg="mod topLvl">
          <ac:chgData name="John Baluka" userId="7068dd7de4bf55dd" providerId="LiveId" clId="{4F0AAA12-9ED4-4B3F-8A3A-0045B616CB8B}" dt="2025-01-20T14:24:20.039" v="2592" actId="165"/>
          <ac:spMkLst>
            <pc:docMk/>
            <pc:sldMk cId="496482172" sldId="864"/>
            <ac:spMk id="43" creationId="{3654C18C-ACAF-E362-1818-D9646813BB83}"/>
          </ac:spMkLst>
        </pc:spChg>
        <pc:spChg chg="mod topLvl">
          <ac:chgData name="John Baluka" userId="7068dd7de4bf55dd" providerId="LiveId" clId="{4F0AAA12-9ED4-4B3F-8A3A-0045B616CB8B}" dt="2025-01-20T14:24:20.039" v="2592" actId="165"/>
          <ac:spMkLst>
            <pc:docMk/>
            <pc:sldMk cId="496482172" sldId="864"/>
            <ac:spMk id="44" creationId="{14063404-EBF6-0E0C-8D9C-050A00A451A7}"/>
          </ac:spMkLst>
        </pc:spChg>
        <pc:picChg chg="add mod">
          <ac:chgData name="John Baluka" userId="7068dd7de4bf55dd" providerId="LiveId" clId="{4F0AAA12-9ED4-4B3F-8A3A-0045B616CB8B}" dt="2025-01-20T13:09:13.678" v="2220" actId="166"/>
          <ac:picMkLst>
            <pc:docMk/>
            <pc:sldMk cId="496482172" sldId="864"/>
            <ac:picMk id="12" creationId="{81D22CC4-20FA-F8CB-A763-1E02F10ABD57}"/>
          </ac:picMkLst>
        </pc:picChg>
        <pc:picChg chg="add mod">
          <ac:chgData name="John Baluka" userId="7068dd7de4bf55dd" providerId="LiveId" clId="{4F0AAA12-9ED4-4B3F-8A3A-0045B616CB8B}" dt="2025-01-20T14:24:38.752" v="2614" actId="1035"/>
          <ac:picMkLst>
            <pc:docMk/>
            <pc:sldMk cId="496482172" sldId="864"/>
            <ac:picMk id="17" creationId="{D791B264-F760-AD46-CE4D-0407D4524BCC}"/>
          </ac:picMkLst>
        </pc:picChg>
        <pc:picChg chg="add mod">
          <ac:chgData name="John Baluka" userId="7068dd7de4bf55dd" providerId="LiveId" clId="{4F0AAA12-9ED4-4B3F-8A3A-0045B616CB8B}" dt="2025-01-20T14:24:38.752" v="2614" actId="1035"/>
          <ac:picMkLst>
            <pc:docMk/>
            <pc:sldMk cId="496482172" sldId="864"/>
            <ac:picMk id="18" creationId="{5C46D6EF-1678-45CB-8EEF-E96C4901C13F}"/>
          </ac:picMkLst>
        </pc:picChg>
        <pc:picChg chg="add mod">
          <ac:chgData name="John Baluka" userId="7068dd7de4bf55dd" providerId="LiveId" clId="{4F0AAA12-9ED4-4B3F-8A3A-0045B616CB8B}" dt="2025-01-20T14:24:38.752" v="2614" actId="1035"/>
          <ac:picMkLst>
            <pc:docMk/>
            <pc:sldMk cId="496482172" sldId="864"/>
            <ac:picMk id="19" creationId="{234A0E6F-C6D4-301C-616E-7B0FF67BCF39}"/>
          </ac:picMkLst>
        </pc:picChg>
        <pc:picChg chg="add mod">
          <ac:chgData name="John Baluka" userId="7068dd7de4bf55dd" providerId="LiveId" clId="{4F0AAA12-9ED4-4B3F-8A3A-0045B616CB8B}" dt="2025-01-20T13:58:53.568" v="2524" actId="1076"/>
          <ac:picMkLst>
            <pc:docMk/>
            <pc:sldMk cId="496482172" sldId="864"/>
            <ac:picMk id="25" creationId="{A928C511-DDAB-6C94-B552-5B4E03B37727}"/>
          </ac:picMkLst>
        </pc:picChg>
        <pc:picChg chg="add mod ord">
          <ac:chgData name="John Baluka" userId="7068dd7de4bf55dd" providerId="LiveId" clId="{4F0AAA12-9ED4-4B3F-8A3A-0045B616CB8B}" dt="2025-01-20T13:58:53.568" v="2524" actId="1076"/>
          <ac:picMkLst>
            <pc:docMk/>
            <pc:sldMk cId="496482172" sldId="864"/>
            <ac:picMk id="27" creationId="{87C097E3-FBED-4AB6-A1A1-0B22B7D4F574}"/>
          </ac:picMkLst>
        </pc:picChg>
        <pc:picChg chg="add mod">
          <ac:chgData name="John Baluka" userId="7068dd7de4bf55dd" providerId="LiveId" clId="{4F0AAA12-9ED4-4B3F-8A3A-0045B616CB8B}" dt="2025-01-20T13:58:53.568" v="2524" actId="1076"/>
          <ac:picMkLst>
            <pc:docMk/>
            <pc:sldMk cId="496482172" sldId="864"/>
            <ac:picMk id="29" creationId="{8EC5FC5B-C890-F801-AA79-FC7F4D7115AD}"/>
          </ac:picMkLst>
        </pc:picChg>
        <pc:picChg chg="add mod">
          <ac:chgData name="John Baluka" userId="7068dd7de4bf55dd" providerId="LiveId" clId="{4F0AAA12-9ED4-4B3F-8A3A-0045B616CB8B}" dt="2025-01-20T13:58:53.568" v="2524" actId="1076"/>
          <ac:picMkLst>
            <pc:docMk/>
            <pc:sldMk cId="496482172" sldId="864"/>
            <ac:picMk id="31" creationId="{F420FEBE-63CA-CA94-A4CC-32EBD6AE4BB1}"/>
          </ac:picMkLst>
        </pc:picChg>
        <pc:picChg chg="add mod">
          <ac:chgData name="John Baluka" userId="7068dd7de4bf55dd" providerId="LiveId" clId="{4F0AAA12-9ED4-4B3F-8A3A-0045B616CB8B}" dt="2025-01-20T13:58:53.568" v="2524" actId="1076"/>
          <ac:picMkLst>
            <pc:docMk/>
            <pc:sldMk cId="496482172" sldId="864"/>
            <ac:picMk id="33" creationId="{77EBD333-64E1-C107-5E4C-B3077C41AA71}"/>
          </ac:picMkLst>
        </pc:picChg>
        <pc:picChg chg="add mod">
          <ac:chgData name="John Baluka" userId="7068dd7de4bf55dd" providerId="LiveId" clId="{4F0AAA12-9ED4-4B3F-8A3A-0045B616CB8B}" dt="2025-01-20T12:47:39.791" v="2092" actId="1036"/>
          <ac:picMkLst>
            <pc:docMk/>
            <pc:sldMk cId="496482172" sldId="864"/>
            <ac:picMk id="2050" creationId="{A166663B-3FCF-C639-A211-C0582387B4A4}"/>
          </ac:picMkLst>
        </pc:picChg>
        <pc:picChg chg="add mod">
          <ac:chgData name="John Baluka" userId="7068dd7de4bf55dd" providerId="LiveId" clId="{4F0AAA12-9ED4-4B3F-8A3A-0045B616CB8B}" dt="2025-01-20T12:47:39.791" v="2092" actId="1036"/>
          <ac:picMkLst>
            <pc:docMk/>
            <pc:sldMk cId="496482172" sldId="864"/>
            <ac:picMk id="2052" creationId="{5EBAA5FD-2EFD-03DC-F5E4-9EABD250298C}"/>
          </ac:picMkLst>
        </pc:picChg>
        <pc:picChg chg="add mod">
          <ac:chgData name="John Baluka" userId="7068dd7de4bf55dd" providerId="LiveId" clId="{4F0AAA12-9ED4-4B3F-8A3A-0045B616CB8B}" dt="2025-01-20T12:48:05.263" v="2096" actId="1076"/>
          <ac:picMkLst>
            <pc:docMk/>
            <pc:sldMk cId="496482172" sldId="864"/>
            <ac:picMk id="2056" creationId="{86D1DAEE-BB0B-1F4C-9DC7-2300CF620AC6}"/>
          </ac:picMkLst>
        </pc:picChg>
        <pc:picChg chg="add mod">
          <ac:chgData name="John Baluka" userId="7068dd7de4bf55dd" providerId="LiveId" clId="{4F0AAA12-9ED4-4B3F-8A3A-0045B616CB8B}" dt="2025-01-20T12:49:30.634" v="2104" actId="14100"/>
          <ac:picMkLst>
            <pc:docMk/>
            <pc:sldMk cId="496482172" sldId="864"/>
            <ac:picMk id="2058" creationId="{071F38B0-6AC9-2CF3-F4AA-395DB21FCEC3}"/>
          </ac:picMkLst>
        </pc:picChg>
        <pc:picChg chg="add mod">
          <ac:chgData name="John Baluka" userId="7068dd7de4bf55dd" providerId="LiveId" clId="{4F0AAA12-9ED4-4B3F-8A3A-0045B616CB8B}" dt="2025-01-20T13:09:13.678" v="2220" actId="166"/>
          <ac:picMkLst>
            <pc:docMk/>
            <pc:sldMk cId="496482172" sldId="864"/>
            <ac:picMk id="2060" creationId="{51DC97EA-665E-8DA1-0EC3-1972AB79A0CE}"/>
          </ac:picMkLst>
        </pc:picChg>
        <pc:picChg chg="add mod">
          <ac:chgData name="John Baluka" userId="7068dd7de4bf55dd" providerId="LiveId" clId="{4F0AAA12-9ED4-4B3F-8A3A-0045B616CB8B}" dt="2025-01-20T13:09:13.678" v="2220" actId="166"/>
          <ac:picMkLst>
            <pc:docMk/>
            <pc:sldMk cId="496482172" sldId="864"/>
            <ac:picMk id="2062" creationId="{49CCA498-AD66-995E-D036-DF9C31FC6E25}"/>
          </ac:picMkLst>
        </pc:picChg>
        <pc:picChg chg="add mod">
          <ac:chgData name="John Baluka" userId="7068dd7de4bf55dd" providerId="LiveId" clId="{4F0AAA12-9ED4-4B3F-8A3A-0045B616CB8B}" dt="2025-01-20T13:09:35.628" v="2225" actId="1076"/>
          <ac:picMkLst>
            <pc:docMk/>
            <pc:sldMk cId="496482172" sldId="864"/>
            <ac:picMk id="2064" creationId="{F9AED376-9B2F-437F-EE92-89DF149F3F07}"/>
          </ac:picMkLst>
        </pc:picChg>
        <pc:picChg chg="add mod">
          <ac:chgData name="John Baluka" userId="7068dd7de4bf55dd" providerId="LiveId" clId="{4F0AAA12-9ED4-4B3F-8A3A-0045B616CB8B}" dt="2025-01-20T13:24:22.163" v="2253" actId="1076"/>
          <ac:picMkLst>
            <pc:docMk/>
            <pc:sldMk cId="496482172" sldId="864"/>
            <ac:picMk id="2070" creationId="{01AA21B4-CF44-0A9A-80CE-9CB2667D74FD}"/>
          </ac:picMkLst>
        </pc:picChg>
        <pc:picChg chg="add mod">
          <ac:chgData name="John Baluka" userId="7068dd7de4bf55dd" providerId="LiveId" clId="{4F0AAA12-9ED4-4B3F-8A3A-0045B616CB8B}" dt="2025-01-20T13:25:11.772" v="2263" actId="1076"/>
          <ac:picMkLst>
            <pc:docMk/>
            <pc:sldMk cId="496482172" sldId="864"/>
            <ac:picMk id="2072" creationId="{C3C35A4B-E653-C287-C624-2FD5143557CE}"/>
          </ac:picMkLst>
        </pc:picChg>
      </pc:sldChg>
      <pc:sldChg chg="addSp delSp modSp mod delAnim modAnim modNotesTx">
        <pc:chgData name="John Baluka" userId="7068dd7de4bf55dd" providerId="LiveId" clId="{4F0AAA12-9ED4-4B3F-8A3A-0045B616CB8B}" dt="2025-01-28T16:30:25.325" v="3165"/>
        <pc:sldMkLst>
          <pc:docMk/>
          <pc:sldMk cId="1113126988" sldId="866"/>
        </pc:sldMkLst>
        <pc:spChg chg="mod">
          <ac:chgData name="John Baluka" userId="7068dd7de4bf55dd" providerId="LiveId" clId="{4F0AAA12-9ED4-4B3F-8A3A-0045B616CB8B}" dt="2025-01-19T22:58:14.186" v="1463" actId="20577"/>
          <ac:spMkLst>
            <pc:docMk/>
            <pc:sldMk cId="1113126988" sldId="866"/>
            <ac:spMk id="2" creationId="{503BE458-2B2E-6B96-931E-C924E4F52390}"/>
          </ac:spMkLst>
        </pc:spChg>
        <pc:spChg chg="mod modVis">
          <ac:chgData name="John Baluka" userId="7068dd7de4bf55dd" providerId="LiveId" clId="{4F0AAA12-9ED4-4B3F-8A3A-0045B616CB8B}" dt="2025-01-19T23:02:36.089" v="1506" actId="14430"/>
          <ac:spMkLst>
            <pc:docMk/>
            <pc:sldMk cId="1113126988" sldId="866"/>
            <ac:spMk id="3" creationId="{8C0E1E7A-6E13-BF97-334C-1FF54399A38F}"/>
          </ac:spMkLst>
        </pc:spChg>
        <pc:spChg chg="mod">
          <ac:chgData name="John Baluka" userId="7068dd7de4bf55dd" providerId="LiveId" clId="{4F0AAA12-9ED4-4B3F-8A3A-0045B616CB8B}" dt="2025-01-19T22:58:19.211" v="1470" actId="20577"/>
          <ac:spMkLst>
            <pc:docMk/>
            <pc:sldMk cId="1113126988" sldId="866"/>
            <ac:spMk id="4" creationId="{7F8ED9CE-7F4A-80F8-6011-A7F813F2F3A6}"/>
          </ac:spMkLst>
        </pc:spChg>
        <pc:spChg chg="add mod">
          <ac:chgData name="John Baluka" userId="7068dd7de4bf55dd" providerId="LiveId" clId="{4F0AAA12-9ED4-4B3F-8A3A-0045B616CB8B}" dt="2025-01-20T15:52:24.536" v="2860" actId="20577"/>
          <ac:spMkLst>
            <pc:docMk/>
            <pc:sldMk cId="1113126988" sldId="866"/>
            <ac:spMk id="6" creationId="{EC2FF735-84E5-7E93-719F-C992B093F870}"/>
          </ac:spMkLst>
        </pc:spChg>
        <pc:spChg chg="add mod">
          <ac:chgData name="John Baluka" userId="7068dd7de4bf55dd" providerId="LiveId" clId="{4F0AAA12-9ED4-4B3F-8A3A-0045B616CB8B}" dt="2025-01-19T23:10:21.754" v="1594" actId="14100"/>
          <ac:spMkLst>
            <pc:docMk/>
            <pc:sldMk cId="1113126988" sldId="866"/>
            <ac:spMk id="7" creationId="{FBA1FEA7-900C-5B0D-A73E-86CD6148280E}"/>
          </ac:spMkLst>
        </pc:spChg>
        <pc:spChg chg="add mod">
          <ac:chgData name="John Baluka" userId="7068dd7de4bf55dd" providerId="LiveId" clId="{4F0AAA12-9ED4-4B3F-8A3A-0045B616CB8B}" dt="2025-01-19T23:10:21.754" v="1594" actId="14100"/>
          <ac:spMkLst>
            <pc:docMk/>
            <pc:sldMk cId="1113126988" sldId="866"/>
            <ac:spMk id="8" creationId="{58C5B94F-9A82-670E-A270-CF0FDDA847E0}"/>
          </ac:spMkLst>
        </pc:spChg>
        <pc:spChg chg="add mod">
          <ac:chgData name="John Baluka" userId="7068dd7de4bf55dd" providerId="LiveId" clId="{4F0AAA12-9ED4-4B3F-8A3A-0045B616CB8B}" dt="2025-01-19T23:04:04.882" v="1512" actId="14100"/>
          <ac:spMkLst>
            <pc:docMk/>
            <pc:sldMk cId="1113126988" sldId="866"/>
            <ac:spMk id="10" creationId="{F4F4FD70-443C-50CC-CA17-A8049E67640D}"/>
          </ac:spMkLst>
        </pc:spChg>
        <pc:spChg chg="mod">
          <ac:chgData name="John Baluka" userId="7068dd7de4bf55dd" providerId="LiveId" clId="{4F0AAA12-9ED4-4B3F-8A3A-0045B616CB8B}" dt="2025-01-19T23:04:36.231" v="1517" actId="14100"/>
          <ac:spMkLst>
            <pc:docMk/>
            <pc:sldMk cId="1113126988" sldId="866"/>
            <ac:spMk id="12" creationId="{6FC44F4B-DBCA-1F6E-3864-92CC6ABF2142}"/>
          </ac:spMkLst>
        </pc:spChg>
        <pc:spChg chg="add mod">
          <ac:chgData name="John Baluka" userId="7068dd7de4bf55dd" providerId="LiveId" clId="{4F0AAA12-9ED4-4B3F-8A3A-0045B616CB8B}" dt="2025-01-19T23:03:28.813" v="1508"/>
          <ac:spMkLst>
            <pc:docMk/>
            <pc:sldMk cId="1113126988" sldId="866"/>
            <ac:spMk id="14" creationId="{2D0CC3AF-BF84-6529-0774-1BAE5C37BA6E}"/>
          </ac:spMkLst>
        </pc:spChg>
        <pc:spChg chg="add mod">
          <ac:chgData name="John Baluka" userId="7068dd7de4bf55dd" providerId="LiveId" clId="{4F0AAA12-9ED4-4B3F-8A3A-0045B616CB8B}" dt="2025-01-19T23:03:28.813" v="1508"/>
          <ac:spMkLst>
            <pc:docMk/>
            <pc:sldMk cId="1113126988" sldId="866"/>
            <ac:spMk id="15" creationId="{201D7DD1-DE1E-B52A-22E2-1889502000DB}"/>
          </ac:spMkLst>
        </pc:spChg>
        <pc:spChg chg="add mod">
          <ac:chgData name="John Baluka" userId="7068dd7de4bf55dd" providerId="LiveId" clId="{4F0AAA12-9ED4-4B3F-8A3A-0045B616CB8B}" dt="2025-01-19T23:03:28.813" v="1508"/>
          <ac:spMkLst>
            <pc:docMk/>
            <pc:sldMk cId="1113126988" sldId="866"/>
            <ac:spMk id="17" creationId="{AC772A1B-0D09-5A41-14CA-FCF83D1DC9C8}"/>
          </ac:spMkLst>
        </pc:spChg>
        <pc:spChg chg="add mod">
          <ac:chgData name="John Baluka" userId="7068dd7de4bf55dd" providerId="LiveId" clId="{4F0AAA12-9ED4-4B3F-8A3A-0045B616CB8B}" dt="2025-01-19T23:03:55.468" v="1510" actId="1076"/>
          <ac:spMkLst>
            <pc:docMk/>
            <pc:sldMk cId="1113126988" sldId="866"/>
            <ac:spMk id="19" creationId="{C419370B-7523-77D1-837A-C15789F63220}"/>
          </ac:spMkLst>
        </pc:spChg>
        <pc:spChg chg="add mod">
          <ac:chgData name="John Baluka" userId="7068dd7de4bf55dd" providerId="LiveId" clId="{4F0AAA12-9ED4-4B3F-8A3A-0045B616CB8B}" dt="2025-01-19T23:03:28.813" v="1508"/>
          <ac:spMkLst>
            <pc:docMk/>
            <pc:sldMk cId="1113126988" sldId="866"/>
            <ac:spMk id="20" creationId="{83290C1B-9E6B-7E2E-27B2-D464B214E342}"/>
          </ac:spMkLst>
        </pc:spChg>
        <pc:spChg chg="add mod">
          <ac:chgData name="John Baluka" userId="7068dd7de4bf55dd" providerId="LiveId" clId="{4F0AAA12-9ED4-4B3F-8A3A-0045B616CB8B}" dt="2025-01-19T23:03:28.813" v="1508"/>
          <ac:spMkLst>
            <pc:docMk/>
            <pc:sldMk cId="1113126988" sldId="866"/>
            <ac:spMk id="22" creationId="{330D36ED-0F5F-DB43-972D-B8C79BAF0CD9}"/>
          </ac:spMkLst>
        </pc:spChg>
        <pc:spChg chg="add mod">
          <ac:chgData name="John Baluka" userId="7068dd7de4bf55dd" providerId="LiveId" clId="{4F0AAA12-9ED4-4B3F-8A3A-0045B616CB8B}" dt="2025-01-19T23:03:28.813" v="1508"/>
          <ac:spMkLst>
            <pc:docMk/>
            <pc:sldMk cId="1113126988" sldId="866"/>
            <ac:spMk id="26" creationId="{454ABC88-65AC-74A5-0EED-3EC090B1CE4E}"/>
          </ac:spMkLst>
        </pc:spChg>
        <pc:spChg chg="mod">
          <ac:chgData name="John Baluka" userId="7068dd7de4bf55dd" providerId="LiveId" clId="{4F0AAA12-9ED4-4B3F-8A3A-0045B616CB8B}" dt="2025-01-19T23:04:27.750" v="1515" actId="1076"/>
          <ac:spMkLst>
            <pc:docMk/>
            <pc:sldMk cId="1113126988" sldId="866"/>
            <ac:spMk id="29" creationId="{836BD997-4682-CFC0-F7BC-4409AB23542F}"/>
          </ac:spMkLst>
        </pc:spChg>
        <pc:spChg chg="add mod">
          <ac:chgData name="John Baluka" userId="7068dd7de4bf55dd" providerId="LiveId" clId="{4F0AAA12-9ED4-4B3F-8A3A-0045B616CB8B}" dt="2025-01-19T23:10:25.040" v="1595" actId="14100"/>
          <ac:spMkLst>
            <pc:docMk/>
            <pc:sldMk cId="1113126988" sldId="866"/>
            <ac:spMk id="32" creationId="{1F5FF39F-F650-D2C2-27DD-6951528D7E15}"/>
          </ac:spMkLst>
        </pc:spChg>
        <pc:picChg chg="mod">
          <ac:chgData name="John Baluka" userId="7068dd7de4bf55dd" providerId="LiveId" clId="{4F0AAA12-9ED4-4B3F-8A3A-0045B616CB8B}" dt="2025-01-19T23:05:10.328" v="1520" actId="14100"/>
          <ac:picMkLst>
            <pc:docMk/>
            <pc:sldMk cId="1113126988" sldId="866"/>
            <ac:picMk id="30" creationId="{1913C585-A937-7F84-0B56-F3DEA0CC0E25}"/>
          </ac:picMkLst>
        </pc:picChg>
        <pc:picChg chg="mod">
          <ac:chgData name="John Baluka" userId="7068dd7de4bf55dd" providerId="LiveId" clId="{4F0AAA12-9ED4-4B3F-8A3A-0045B616CB8B}" dt="2025-01-19T23:04:58.969" v="1518" actId="14100"/>
          <ac:picMkLst>
            <pc:docMk/>
            <pc:sldMk cId="1113126988" sldId="866"/>
            <ac:picMk id="31" creationId="{8EF2AC2A-8999-CA3C-7346-7BD9AD82AB87}"/>
          </ac:picMkLst>
        </pc:picChg>
      </pc:sldChg>
      <pc:sldChg chg="addSp delSp modSp mod modNotesTx">
        <pc:chgData name="John Baluka" userId="7068dd7de4bf55dd" providerId="LiveId" clId="{4F0AAA12-9ED4-4B3F-8A3A-0045B616CB8B}" dt="2025-01-20T18:19:06.193" v="2883" actId="20577"/>
        <pc:sldMkLst>
          <pc:docMk/>
          <pc:sldMk cId="716199274" sldId="867"/>
        </pc:sldMkLst>
        <pc:spChg chg="mod">
          <ac:chgData name="John Baluka" userId="7068dd7de4bf55dd" providerId="LiveId" clId="{4F0AAA12-9ED4-4B3F-8A3A-0045B616CB8B}" dt="2025-01-19T18:09:39.422" v="138" actId="20577"/>
          <ac:spMkLst>
            <pc:docMk/>
            <pc:sldMk cId="716199274" sldId="867"/>
            <ac:spMk id="2" creationId="{37663477-AF91-DC18-FA50-58E67E484F47}"/>
          </ac:spMkLst>
        </pc:spChg>
        <pc:spChg chg="mod">
          <ac:chgData name="John Baluka" userId="7068dd7de4bf55dd" providerId="LiveId" clId="{4F0AAA12-9ED4-4B3F-8A3A-0045B616CB8B}" dt="2025-01-19T18:10:44.656" v="161"/>
          <ac:spMkLst>
            <pc:docMk/>
            <pc:sldMk cId="716199274" sldId="867"/>
            <ac:spMk id="4" creationId="{E5C70E86-F49F-0848-8EEB-94E757776E32}"/>
          </ac:spMkLst>
        </pc:spChg>
        <pc:spChg chg="add mod">
          <ac:chgData name="John Baluka" userId="7068dd7de4bf55dd" providerId="LiveId" clId="{4F0AAA12-9ED4-4B3F-8A3A-0045B616CB8B}" dt="2025-01-20T13:59:23.716" v="2527" actId="14100"/>
          <ac:spMkLst>
            <pc:docMk/>
            <pc:sldMk cId="716199274" sldId="867"/>
            <ac:spMk id="7" creationId="{751AFCBB-AC60-1A75-5A87-4B4340A518AF}"/>
          </ac:spMkLst>
        </pc:spChg>
        <pc:spChg chg="add mod">
          <ac:chgData name="John Baluka" userId="7068dd7de4bf55dd" providerId="LiveId" clId="{4F0AAA12-9ED4-4B3F-8A3A-0045B616CB8B}" dt="2025-01-20T14:25:04.002" v="2629" actId="1036"/>
          <ac:spMkLst>
            <pc:docMk/>
            <pc:sldMk cId="716199274" sldId="867"/>
            <ac:spMk id="12" creationId="{0616C379-CFF7-FCBA-B88A-E399243D526C}"/>
          </ac:spMkLst>
        </pc:spChg>
        <pc:spChg chg="add mod">
          <ac:chgData name="John Baluka" userId="7068dd7de4bf55dd" providerId="LiveId" clId="{4F0AAA12-9ED4-4B3F-8A3A-0045B616CB8B}" dt="2025-01-20T14:25:04.002" v="2629" actId="1036"/>
          <ac:spMkLst>
            <pc:docMk/>
            <pc:sldMk cId="716199274" sldId="867"/>
            <ac:spMk id="13" creationId="{E8BB4588-C791-F65D-0BA2-F364FF947A9D}"/>
          </ac:spMkLst>
        </pc:spChg>
        <pc:spChg chg="add mod">
          <ac:chgData name="John Baluka" userId="7068dd7de4bf55dd" providerId="LiveId" clId="{4F0AAA12-9ED4-4B3F-8A3A-0045B616CB8B}" dt="2025-01-20T14:25:04.002" v="2629" actId="1036"/>
          <ac:spMkLst>
            <pc:docMk/>
            <pc:sldMk cId="716199274" sldId="867"/>
            <ac:spMk id="14" creationId="{1D8122A2-49D5-E710-99AB-36D53032899E}"/>
          </ac:spMkLst>
        </pc:spChg>
        <pc:spChg chg="add mod">
          <ac:chgData name="John Baluka" userId="7068dd7de4bf55dd" providerId="LiveId" clId="{4F0AAA12-9ED4-4B3F-8A3A-0045B616CB8B}" dt="2025-01-20T13:51:45.925" v="2469" actId="1076"/>
          <ac:spMkLst>
            <pc:docMk/>
            <pc:sldMk cId="716199274" sldId="867"/>
            <ac:spMk id="15" creationId="{09255A49-5B2A-5956-590B-3D3B503CAF5E}"/>
          </ac:spMkLst>
        </pc:spChg>
        <pc:spChg chg="add mod">
          <ac:chgData name="John Baluka" userId="7068dd7de4bf55dd" providerId="LiveId" clId="{4F0AAA12-9ED4-4B3F-8A3A-0045B616CB8B}" dt="2025-01-20T13:51:45.925" v="2469" actId="1076"/>
          <ac:spMkLst>
            <pc:docMk/>
            <pc:sldMk cId="716199274" sldId="867"/>
            <ac:spMk id="17" creationId="{ADD715DA-68FE-6563-F021-021817F352B3}"/>
          </ac:spMkLst>
        </pc:spChg>
        <pc:spChg chg="add mod">
          <ac:chgData name="John Baluka" userId="7068dd7de4bf55dd" providerId="LiveId" clId="{4F0AAA12-9ED4-4B3F-8A3A-0045B616CB8B}" dt="2025-01-20T13:51:45.925" v="2469" actId="1076"/>
          <ac:spMkLst>
            <pc:docMk/>
            <pc:sldMk cId="716199274" sldId="867"/>
            <ac:spMk id="19" creationId="{85CD260F-32E2-163B-5718-B88BB437DB70}"/>
          </ac:spMkLst>
        </pc:spChg>
        <pc:spChg chg="add mod">
          <ac:chgData name="John Baluka" userId="7068dd7de4bf55dd" providerId="LiveId" clId="{4F0AAA12-9ED4-4B3F-8A3A-0045B616CB8B}" dt="2025-01-20T14:07:20.557" v="2590" actId="20577"/>
          <ac:spMkLst>
            <pc:docMk/>
            <pc:sldMk cId="716199274" sldId="867"/>
            <ac:spMk id="21" creationId="{F2F484B6-9CB7-43F6-712E-31F59762BD06}"/>
          </ac:spMkLst>
        </pc:spChg>
        <pc:spChg chg="add mod">
          <ac:chgData name="John Baluka" userId="7068dd7de4bf55dd" providerId="LiveId" clId="{4F0AAA12-9ED4-4B3F-8A3A-0045B616CB8B}" dt="2025-01-20T13:51:45.925" v="2469" actId="1076"/>
          <ac:spMkLst>
            <pc:docMk/>
            <pc:sldMk cId="716199274" sldId="867"/>
            <ac:spMk id="23" creationId="{3DD9D196-EDE8-FAA6-3E04-48F9316A39CF}"/>
          </ac:spMkLst>
        </pc:spChg>
        <pc:spChg chg="mod topLvl">
          <ac:chgData name="John Baluka" userId="7068dd7de4bf55dd" providerId="LiveId" clId="{4F0AAA12-9ED4-4B3F-8A3A-0045B616CB8B}" dt="2025-01-20T18:19:06.193" v="2883" actId="20577"/>
          <ac:spMkLst>
            <pc:docMk/>
            <pc:sldMk cId="716199274" sldId="867"/>
            <ac:spMk id="41" creationId="{551E73E5-EA3E-CA53-FB39-34C06AC0AE1E}"/>
          </ac:spMkLst>
        </pc:spChg>
        <pc:spChg chg="mod topLvl">
          <ac:chgData name="John Baluka" userId="7068dd7de4bf55dd" providerId="LiveId" clId="{4F0AAA12-9ED4-4B3F-8A3A-0045B616CB8B}" dt="2025-01-20T15:54:24.533" v="2878" actId="404"/>
          <ac:spMkLst>
            <pc:docMk/>
            <pc:sldMk cId="716199274" sldId="867"/>
            <ac:spMk id="42" creationId="{1157424C-C67F-9E40-CFFB-C3EE1AB48733}"/>
          </ac:spMkLst>
        </pc:spChg>
        <pc:spChg chg="mod topLvl">
          <ac:chgData name="John Baluka" userId="7068dd7de4bf55dd" providerId="LiveId" clId="{4F0AAA12-9ED4-4B3F-8A3A-0045B616CB8B}" dt="2025-01-20T15:41:29.727" v="2700"/>
          <ac:spMkLst>
            <pc:docMk/>
            <pc:sldMk cId="716199274" sldId="867"/>
            <ac:spMk id="43" creationId="{07E3E964-5268-45BD-092C-69914AE4091D}"/>
          </ac:spMkLst>
        </pc:spChg>
        <pc:spChg chg="mod topLvl">
          <ac:chgData name="John Baluka" userId="7068dd7de4bf55dd" providerId="LiveId" clId="{4F0AAA12-9ED4-4B3F-8A3A-0045B616CB8B}" dt="2025-01-20T15:54:31.869" v="2879" actId="403"/>
          <ac:spMkLst>
            <pc:docMk/>
            <pc:sldMk cId="716199274" sldId="867"/>
            <ac:spMk id="44" creationId="{4FF22F35-F221-5965-9BDC-42912C400CE1}"/>
          </ac:spMkLst>
        </pc:spChg>
        <pc:spChg chg="mod topLvl">
          <ac:chgData name="John Baluka" userId="7068dd7de4bf55dd" providerId="LiveId" clId="{4F0AAA12-9ED4-4B3F-8A3A-0045B616CB8B}" dt="2025-01-20T15:45:09.120" v="2806" actId="6549"/>
          <ac:spMkLst>
            <pc:docMk/>
            <pc:sldMk cId="716199274" sldId="867"/>
            <ac:spMk id="45" creationId="{C115FEE8-E2E3-57E9-37F8-A4DF83D3459D}"/>
          </ac:spMkLst>
        </pc:spChg>
        <pc:spChg chg="mod topLvl">
          <ac:chgData name="John Baluka" userId="7068dd7de4bf55dd" providerId="LiveId" clId="{4F0AAA12-9ED4-4B3F-8A3A-0045B616CB8B}" dt="2025-01-20T15:54:09.661" v="2877" actId="403"/>
          <ac:spMkLst>
            <pc:docMk/>
            <pc:sldMk cId="716199274" sldId="867"/>
            <ac:spMk id="46" creationId="{2104357B-5EE2-3B26-29FB-3AC232131D55}"/>
          </ac:spMkLst>
        </pc:spChg>
        <pc:picChg chg="mod">
          <ac:chgData name="John Baluka" userId="7068dd7de4bf55dd" providerId="LiveId" clId="{4F0AAA12-9ED4-4B3F-8A3A-0045B616CB8B}" dt="2025-01-20T14:25:04.002" v="2629" actId="1036"/>
          <ac:picMkLst>
            <pc:docMk/>
            <pc:sldMk cId="716199274" sldId="867"/>
            <ac:picMk id="8" creationId="{E898723A-D905-821D-366B-FEE21130DE83}"/>
          </ac:picMkLst>
        </pc:picChg>
        <pc:picChg chg="mod">
          <ac:chgData name="John Baluka" userId="7068dd7de4bf55dd" providerId="LiveId" clId="{4F0AAA12-9ED4-4B3F-8A3A-0045B616CB8B}" dt="2025-01-20T14:25:04.002" v="2629" actId="1036"/>
          <ac:picMkLst>
            <pc:docMk/>
            <pc:sldMk cId="716199274" sldId="867"/>
            <ac:picMk id="10" creationId="{4A99C74E-B7B4-7E28-31DB-47357227FAFA}"/>
          </ac:picMkLst>
        </pc:picChg>
        <pc:picChg chg="add mod">
          <ac:chgData name="John Baluka" userId="7068dd7de4bf55dd" providerId="LiveId" clId="{4F0AAA12-9ED4-4B3F-8A3A-0045B616CB8B}" dt="2025-01-20T14:25:04.002" v="2629" actId="1036"/>
          <ac:picMkLst>
            <pc:docMk/>
            <pc:sldMk cId="716199274" sldId="867"/>
            <ac:picMk id="11" creationId="{BF7635D0-FF1A-13A0-3BFE-720B6FFBB8C7}"/>
          </ac:picMkLst>
        </pc:picChg>
        <pc:cxnChg chg="add mod ord">
          <ac:chgData name="John Baluka" userId="7068dd7de4bf55dd" providerId="LiveId" clId="{4F0AAA12-9ED4-4B3F-8A3A-0045B616CB8B}" dt="2025-01-20T13:59:23.716" v="2527" actId="14100"/>
          <ac:cxnSpMkLst>
            <pc:docMk/>
            <pc:sldMk cId="716199274" sldId="867"/>
            <ac:cxnSpMk id="25" creationId="{9B027263-0DA4-9C50-0C9D-C9D56B6F7349}"/>
          </ac:cxnSpMkLst>
        </pc:cxnChg>
        <pc:cxnChg chg="add mod ord">
          <ac:chgData name="John Baluka" userId="7068dd7de4bf55dd" providerId="LiveId" clId="{4F0AAA12-9ED4-4B3F-8A3A-0045B616CB8B}" dt="2025-01-20T14:01:19.007" v="2537" actId="1076"/>
          <ac:cxnSpMkLst>
            <pc:docMk/>
            <pc:sldMk cId="716199274" sldId="867"/>
            <ac:cxnSpMk id="29" creationId="{B74B9C02-508F-90ED-B48F-818586A874B6}"/>
          </ac:cxnSpMkLst>
        </pc:cxnChg>
        <pc:cxnChg chg="add mod">
          <ac:chgData name="John Baluka" userId="7068dd7de4bf55dd" providerId="LiveId" clId="{4F0AAA12-9ED4-4B3F-8A3A-0045B616CB8B}" dt="2025-01-20T14:01:09.028" v="2536" actId="1076"/>
          <ac:cxnSpMkLst>
            <pc:docMk/>
            <pc:sldMk cId="716199274" sldId="867"/>
            <ac:cxnSpMk id="33" creationId="{62FECCA9-F0E3-6362-0851-A68E55A7ED97}"/>
          </ac:cxnSpMkLst>
        </pc:cxnChg>
      </pc:sldChg>
      <pc:sldMasterChg chg="modSldLayout">
        <pc:chgData name="John Baluka" userId="7068dd7de4bf55dd" providerId="LiveId" clId="{4F0AAA12-9ED4-4B3F-8A3A-0045B616CB8B}" dt="2025-01-29T20:08:17.520" v="3208" actId="1038"/>
        <pc:sldMasterMkLst>
          <pc:docMk/>
          <pc:sldMasterMk cId="1202479639" sldId="2147483677"/>
        </pc:sldMasterMkLst>
        <pc:sldLayoutChg chg="addSp delSp modSp mod">
          <pc:chgData name="John Baluka" userId="7068dd7de4bf55dd" providerId="LiveId" clId="{4F0AAA12-9ED4-4B3F-8A3A-0045B616CB8B}" dt="2025-01-29T20:08:17.520" v="3208" actId="1038"/>
          <pc:sldLayoutMkLst>
            <pc:docMk/>
            <pc:sldMasterMk cId="1202479639" sldId="2147483677"/>
            <pc:sldLayoutMk cId="19805963" sldId="2147483674"/>
          </pc:sldLayoutMkLst>
          <pc:spChg chg="mod">
            <ac:chgData name="John Baluka" userId="7068dd7de4bf55dd" providerId="LiveId" clId="{4F0AAA12-9ED4-4B3F-8A3A-0045B616CB8B}" dt="2025-01-19T18:05:50.856" v="106"/>
            <ac:spMkLst>
              <pc:docMk/>
              <pc:sldMasterMk cId="1202479639" sldId="2147483677"/>
              <pc:sldLayoutMk cId="19805963" sldId="2147483674"/>
              <ac:spMk id="4" creationId="{9EC1935E-8384-762B-E303-D8A34E5475D9}"/>
            </ac:spMkLst>
          </pc:spChg>
          <pc:spChg chg="mod">
            <ac:chgData name="John Baluka" userId="7068dd7de4bf55dd" providerId="LiveId" clId="{4F0AAA12-9ED4-4B3F-8A3A-0045B616CB8B}" dt="2025-01-19T18:05:57.315" v="108"/>
            <ac:spMkLst>
              <pc:docMk/>
              <pc:sldMasterMk cId="1202479639" sldId="2147483677"/>
              <pc:sldLayoutMk cId="19805963" sldId="2147483674"/>
              <ac:spMk id="5" creationId="{DC5F23B7-FF51-FD3B-88ED-3388279DC957}"/>
            </ac:spMkLst>
          </pc:spChg>
          <pc:spChg chg="mod">
            <ac:chgData name="John Baluka" userId="7068dd7de4bf55dd" providerId="LiveId" clId="{4F0AAA12-9ED4-4B3F-8A3A-0045B616CB8B}" dt="2025-01-19T18:06:09.837" v="110"/>
            <ac:spMkLst>
              <pc:docMk/>
              <pc:sldMasterMk cId="1202479639" sldId="2147483677"/>
              <pc:sldLayoutMk cId="19805963" sldId="2147483674"/>
              <ac:spMk id="6" creationId="{EFED535E-D63F-4CE2-1130-0C5F6B7F0463}"/>
            </ac:spMkLst>
          </pc:spChg>
          <pc:spChg chg="mod">
            <ac:chgData name="John Baluka" userId="7068dd7de4bf55dd" providerId="LiveId" clId="{4F0AAA12-9ED4-4B3F-8A3A-0045B616CB8B}" dt="2025-01-19T22:59:07.531" v="1505" actId="20577"/>
            <ac:spMkLst>
              <pc:docMk/>
              <pc:sldMasterMk cId="1202479639" sldId="2147483677"/>
              <pc:sldLayoutMk cId="19805963" sldId="2147483674"/>
              <ac:spMk id="7" creationId="{40D1D5F7-9B27-1865-6A40-6813C1ABD8F2}"/>
            </ac:spMkLst>
          </pc:spChg>
          <pc:spChg chg="mod">
            <ac:chgData name="John Baluka" userId="7068dd7de4bf55dd" providerId="LiveId" clId="{4F0AAA12-9ED4-4B3F-8A3A-0045B616CB8B}" dt="2025-01-19T21:45:10.298" v="822" actId="14100"/>
            <ac:spMkLst>
              <pc:docMk/>
              <pc:sldMasterMk cId="1202479639" sldId="2147483677"/>
              <pc:sldLayoutMk cId="19805963" sldId="2147483674"/>
              <ac:spMk id="11" creationId="{C7E541B3-3C1F-46E3-8AC8-53985C99C4C0}"/>
            </ac:spMkLst>
          </pc:spChg>
          <pc:spChg chg="mod">
            <ac:chgData name="John Baluka" userId="7068dd7de4bf55dd" providerId="LiveId" clId="{4F0AAA12-9ED4-4B3F-8A3A-0045B616CB8B}" dt="2025-01-29T20:07:36.532" v="3200" actId="14100"/>
            <ac:spMkLst>
              <pc:docMk/>
              <pc:sldMasterMk cId="1202479639" sldId="2147483677"/>
              <pc:sldLayoutMk cId="19805963" sldId="2147483674"/>
              <ac:spMk id="31" creationId="{ADC89931-5F38-9B5E-F338-7A8B9AA25C83}"/>
            </ac:spMkLst>
          </pc:spChg>
          <pc:picChg chg="add mod modCrop">
            <ac:chgData name="John Baluka" userId="7068dd7de4bf55dd" providerId="LiveId" clId="{4F0AAA12-9ED4-4B3F-8A3A-0045B616CB8B}" dt="2025-01-19T15:29:09.505" v="42" actId="1076"/>
            <ac:picMkLst>
              <pc:docMk/>
              <pc:sldMasterMk cId="1202479639" sldId="2147483677"/>
              <pc:sldLayoutMk cId="19805963" sldId="2147483674"/>
              <ac:picMk id="9" creationId="{FFE9E454-6C56-81C7-429C-69E6AF73FB27}"/>
            </ac:picMkLst>
          </pc:picChg>
          <pc:picChg chg="add mod">
            <ac:chgData name="John Baluka" userId="7068dd7de4bf55dd" providerId="LiveId" clId="{4F0AAA12-9ED4-4B3F-8A3A-0045B616CB8B}" dt="2025-01-29T20:04:41.411" v="3193" actId="1076"/>
            <ac:picMkLst>
              <pc:docMk/>
              <pc:sldMasterMk cId="1202479639" sldId="2147483677"/>
              <pc:sldLayoutMk cId="19805963" sldId="2147483674"/>
              <ac:picMk id="15" creationId="{342B171B-7030-F286-2361-8138B25335A7}"/>
            </ac:picMkLst>
          </pc:picChg>
          <pc:picChg chg="add mod">
            <ac:chgData name="John Baluka" userId="7068dd7de4bf55dd" providerId="LiveId" clId="{4F0AAA12-9ED4-4B3F-8A3A-0045B616CB8B}" dt="2025-01-29T20:03:50.457" v="3187" actId="1035"/>
            <ac:picMkLst>
              <pc:docMk/>
              <pc:sldMasterMk cId="1202479639" sldId="2147483677"/>
              <pc:sldLayoutMk cId="19805963" sldId="2147483674"/>
              <ac:picMk id="16" creationId="{D85A5F8D-8E47-5FC6-988B-1A5575B28407}"/>
            </ac:picMkLst>
          </pc:picChg>
          <pc:picChg chg="mod">
            <ac:chgData name="John Baluka" userId="7068dd7de4bf55dd" providerId="LiveId" clId="{4F0AAA12-9ED4-4B3F-8A3A-0045B616CB8B}" dt="2025-01-29T20:04:48.485" v="3194" actId="1076"/>
            <ac:picMkLst>
              <pc:docMk/>
              <pc:sldMasterMk cId="1202479639" sldId="2147483677"/>
              <pc:sldLayoutMk cId="19805963" sldId="2147483674"/>
              <ac:picMk id="24" creationId="{830934DD-D55F-0ABC-40B3-0C54ACF85334}"/>
            </ac:picMkLst>
          </pc:picChg>
        </pc:sldLayoutChg>
      </pc:sldMasterChg>
    </pc:docChg>
  </pc:docChgLst>
  <pc:docChgLst>
    <pc:chgData name="John Baluka" userId="7068dd7de4bf55dd" providerId="LiveId" clId="{030D8783-65AE-45FC-9300-4E9DE62BC37E}"/>
    <pc:docChg chg="undo custSel modSld modMainMaster">
      <pc:chgData name="John Baluka" userId="7068dd7de4bf55dd" providerId="LiveId" clId="{030D8783-65AE-45FC-9300-4E9DE62BC37E}" dt="2025-02-17T02:24:02.360" v="1180"/>
      <pc:docMkLst>
        <pc:docMk/>
      </pc:docMkLst>
      <pc:sldChg chg="addSp delSp modSp mod modTransition delAnim modAnim modNotesTx">
        <pc:chgData name="John Baluka" userId="7068dd7de4bf55dd" providerId="LiveId" clId="{030D8783-65AE-45FC-9300-4E9DE62BC37E}" dt="2025-02-17T02:24:02.360" v="1180"/>
        <pc:sldMkLst>
          <pc:docMk/>
          <pc:sldMk cId="1948209501" sldId="859"/>
        </pc:sldMkLst>
        <pc:spChg chg="mod">
          <ac:chgData name="John Baluka" userId="7068dd7de4bf55dd" providerId="LiveId" clId="{030D8783-65AE-45FC-9300-4E9DE62BC37E}" dt="2025-02-07T17:40:09.475" v="32" actId="6549"/>
          <ac:spMkLst>
            <pc:docMk/>
            <pc:sldMk cId="1948209501" sldId="859"/>
            <ac:spMk id="2" creationId="{08E0EA74-660C-F1E7-9549-EF476072E5ED}"/>
          </ac:spMkLst>
        </pc:spChg>
        <pc:spChg chg="add del mod">
          <ac:chgData name="John Baluka" userId="7068dd7de4bf55dd" providerId="LiveId" clId="{030D8783-65AE-45FC-9300-4E9DE62BC37E}" dt="2025-02-16T13:10:32.223" v="778" actId="478"/>
          <ac:spMkLst>
            <pc:docMk/>
            <pc:sldMk cId="1948209501" sldId="859"/>
            <ac:spMk id="8" creationId="{DFE10DFB-AD61-5A34-E080-1B3919FB4898}"/>
          </ac:spMkLst>
        </pc:spChg>
        <pc:spChg chg="mod">
          <ac:chgData name="John Baluka" userId="7068dd7de4bf55dd" providerId="LiveId" clId="{030D8783-65AE-45FC-9300-4E9DE62BC37E}" dt="2025-02-16T13:10:49.651" v="781" actId="1582"/>
          <ac:spMkLst>
            <pc:docMk/>
            <pc:sldMk cId="1948209501" sldId="859"/>
            <ac:spMk id="10" creationId="{06CCCC19-93A4-D972-F98E-4F759A5DED2E}"/>
          </ac:spMkLst>
        </pc:spChg>
        <pc:spChg chg="mod">
          <ac:chgData name="John Baluka" userId="7068dd7de4bf55dd" providerId="LiveId" clId="{030D8783-65AE-45FC-9300-4E9DE62BC37E}" dt="2025-02-07T17:30:56.290" v="11" actId="20577"/>
          <ac:spMkLst>
            <pc:docMk/>
            <pc:sldMk cId="1948209501" sldId="859"/>
            <ac:spMk id="13" creationId="{A2CA8971-563D-57A6-9E33-2BEC4B4A457E}"/>
          </ac:spMkLst>
        </pc:spChg>
        <pc:spChg chg="mod">
          <ac:chgData name="John Baluka" userId="7068dd7de4bf55dd" providerId="LiveId" clId="{030D8783-65AE-45FC-9300-4E9DE62BC37E}" dt="2025-02-10T15:57:20.987" v="414" actId="404"/>
          <ac:spMkLst>
            <pc:docMk/>
            <pc:sldMk cId="1948209501" sldId="859"/>
            <ac:spMk id="14" creationId="{77BC925A-9DB6-44EE-450C-DD83C8FD63AF}"/>
          </ac:spMkLst>
        </pc:spChg>
        <pc:spChg chg="mod">
          <ac:chgData name="John Baluka" userId="7068dd7de4bf55dd" providerId="LiveId" clId="{030D8783-65AE-45FC-9300-4E9DE62BC37E}" dt="2025-02-07T17:32:24.788" v="25" actId="20577"/>
          <ac:spMkLst>
            <pc:docMk/>
            <pc:sldMk cId="1948209501" sldId="859"/>
            <ac:spMk id="15" creationId="{39778D51-D229-56DC-095E-3DA028E52072}"/>
          </ac:spMkLst>
        </pc:spChg>
        <pc:spChg chg="mod">
          <ac:chgData name="John Baluka" userId="7068dd7de4bf55dd" providerId="LiveId" clId="{030D8783-65AE-45FC-9300-4E9DE62BC37E}" dt="2025-02-07T17:31:38.302" v="20" actId="20577"/>
          <ac:spMkLst>
            <pc:docMk/>
            <pc:sldMk cId="1948209501" sldId="859"/>
            <ac:spMk id="17" creationId="{600105D3-D10A-D1F8-D8E2-A11BE891D7F3}"/>
          </ac:spMkLst>
        </pc:spChg>
        <pc:picChg chg="add mod">
          <ac:chgData name="John Baluka" userId="7068dd7de4bf55dd" providerId="LiveId" clId="{030D8783-65AE-45FC-9300-4E9DE62BC37E}" dt="2025-02-17T02:24:00.551" v="966"/>
          <ac:picMkLst>
            <pc:docMk/>
            <pc:sldMk cId="1948209501" sldId="859"/>
            <ac:picMk id="6" creationId="{A0426629-9FFD-37D1-10E2-93BE4CCF8160}"/>
          </ac:picMkLst>
        </pc:picChg>
        <pc:picChg chg="add del mod">
          <ac:chgData name="John Baluka" userId="7068dd7de4bf55dd" providerId="LiveId" clId="{030D8783-65AE-45FC-9300-4E9DE62BC37E}" dt="2025-02-17T00:21:20.457" v="855"/>
          <ac:picMkLst>
            <pc:docMk/>
            <pc:sldMk cId="1948209501" sldId="859"/>
            <ac:picMk id="9" creationId="{7457A234-2B1C-249E-E0E1-9F7D40D991D6}"/>
          </ac:picMkLst>
        </pc:picChg>
      </pc:sldChg>
      <pc:sldChg chg="addSp delSp modSp mod modTransition setFolMasterAnim modAnim modNotesTx">
        <pc:chgData name="John Baluka" userId="7068dd7de4bf55dd" providerId="LiveId" clId="{030D8783-65AE-45FC-9300-4E9DE62BC37E}" dt="2025-02-17T02:24:02.342" v="1024"/>
        <pc:sldMkLst>
          <pc:docMk/>
          <pc:sldMk cId="623836634" sldId="860"/>
        </pc:sldMkLst>
        <pc:spChg chg="mod">
          <ac:chgData name="John Baluka" userId="7068dd7de4bf55dd" providerId="LiveId" clId="{030D8783-65AE-45FC-9300-4E9DE62BC37E}" dt="2025-02-10T18:29:47.319" v="426" actId="20577"/>
          <ac:spMkLst>
            <pc:docMk/>
            <pc:sldMk cId="623836634" sldId="860"/>
            <ac:spMk id="5" creationId="{E3293B26-2E0E-77F8-390F-72519693D375}"/>
          </ac:spMkLst>
        </pc:spChg>
        <pc:picChg chg="add mod">
          <ac:chgData name="John Baluka" userId="7068dd7de4bf55dd" providerId="LiveId" clId="{030D8783-65AE-45FC-9300-4E9DE62BC37E}" dt="2025-02-17T02:23:46.812" v="866"/>
          <ac:picMkLst>
            <pc:docMk/>
            <pc:sldMk cId="623836634" sldId="860"/>
            <ac:picMk id="3" creationId="{8192DA64-B6F3-043F-AE26-432519EC982D}"/>
          </ac:picMkLst>
        </pc:picChg>
        <pc:picChg chg="add del mod">
          <ac:chgData name="John Baluka" userId="7068dd7de4bf55dd" providerId="LiveId" clId="{030D8783-65AE-45FC-9300-4E9DE62BC37E}" dt="2025-02-17T00:21:20.457" v="855"/>
          <ac:picMkLst>
            <pc:docMk/>
            <pc:sldMk cId="623836634" sldId="860"/>
            <ac:picMk id="4" creationId="{E1C82B1D-8778-1FDA-4545-7661229F33B3}"/>
          </ac:picMkLst>
        </pc:picChg>
        <pc:picChg chg="mod">
          <ac:chgData name="John Baluka" userId="7068dd7de4bf55dd" providerId="LiveId" clId="{030D8783-65AE-45FC-9300-4E9DE62BC37E}" dt="2025-02-16T23:50:59.187" v="816"/>
          <ac:picMkLst>
            <pc:docMk/>
            <pc:sldMk cId="623836634" sldId="860"/>
            <ac:picMk id="59" creationId="{408969A8-4E6E-9ED1-CC8F-C1AFEB45BFFE}"/>
          </ac:picMkLst>
        </pc:picChg>
        <pc:picChg chg="mod">
          <ac:chgData name="John Baluka" userId="7068dd7de4bf55dd" providerId="LiveId" clId="{030D8783-65AE-45FC-9300-4E9DE62BC37E}" dt="2025-02-12T04:07:03.149" v="776" actId="3626"/>
          <ac:picMkLst>
            <pc:docMk/>
            <pc:sldMk cId="623836634" sldId="860"/>
            <ac:picMk id="60" creationId="{927EC4DF-4CA5-5F24-9CAF-DAD872F16C31}"/>
          </ac:picMkLst>
        </pc:picChg>
        <pc:picChg chg="mod">
          <ac:chgData name="John Baluka" userId="7068dd7de4bf55dd" providerId="LiveId" clId="{030D8783-65AE-45FC-9300-4E9DE62BC37E}" dt="2025-02-10T14:42:25.657" v="56"/>
          <ac:picMkLst>
            <pc:docMk/>
            <pc:sldMk cId="623836634" sldId="860"/>
            <ac:picMk id="75" creationId="{AEA132D5-5831-F2E0-243F-335423F76350}"/>
          </ac:picMkLst>
        </pc:picChg>
        <pc:picChg chg="mod">
          <ac:chgData name="John Baluka" userId="7068dd7de4bf55dd" providerId="LiveId" clId="{030D8783-65AE-45FC-9300-4E9DE62BC37E}" dt="2025-02-10T14:42:25.705" v="57"/>
          <ac:picMkLst>
            <pc:docMk/>
            <pc:sldMk cId="623836634" sldId="860"/>
            <ac:picMk id="76" creationId="{2FFE37C3-DA3B-74EE-8FA1-364829E5D654}"/>
          </ac:picMkLst>
        </pc:picChg>
        <pc:picChg chg="mod">
          <ac:chgData name="John Baluka" userId="7068dd7de4bf55dd" providerId="LiveId" clId="{030D8783-65AE-45FC-9300-4E9DE62BC37E}" dt="2025-02-16T23:51:50.525" v="818"/>
          <ac:picMkLst>
            <pc:docMk/>
            <pc:sldMk cId="623836634" sldId="860"/>
            <ac:picMk id="1034" creationId="{4106299D-7FB4-E241-8FEC-4F83B521082D}"/>
          </ac:picMkLst>
        </pc:picChg>
        <pc:picChg chg="mod">
          <ac:chgData name="John Baluka" userId="7068dd7de4bf55dd" providerId="LiveId" clId="{030D8783-65AE-45FC-9300-4E9DE62BC37E}" dt="2025-02-16T23:50:48.062" v="815"/>
          <ac:picMkLst>
            <pc:docMk/>
            <pc:sldMk cId="623836634" sldId="860"/>
            <ac:picMk id="1044" creationId="{72305F47-BBEA-A386-E257-206DC6587030}"/>
          </ac:picMkLst>
        </pc:picChg>
        <pc:picChg chg="mod">
          <ac:chgData name="John Baluka" userId="7068dd7de4bf55dd" providerId="LiveId" clId="{030D8783-65AE-45FC-9300-4E9DE62BC37E}" dt="2025-02-16T23:51:22.005" v="817"/>
          <ac:picMkLst>
            <pc:docMk/>
            <pc:sldMk cId="623836634" sldId="860"/>
            <ac:picMk id="1048" creationId="{81C6BF79-5790-9E9B-AEAC-1850DD3D1FD7}"/>
          </ac:picMkLst>
        </pc:picChg>
      </pc:sldChg>
      <pc:sldChg chg="addSp delSp modSp mod modTransition modAnim modNotesTx">
        <pc:chgData name="John Baluka" userId="7068dd7de4bf55dd" providerId="LiveId" clId="{030D8783-65AE-45FC-9300-4E9DE62BC37E}" dt="2025-02-17T02:24:02.344" v="1046"/>
        <pc:sldMkLst>
          <pc:docMk/>
          <pc:sldMk cId="2738592241" sldId="863"/>
        </pc:sldMkLst>
        <pc:spChg chg="mod">
          <ac:chgData name="John Baluka" userId="7068dd7de4bf55dd" providerId="LiveId" clId="{030D8783-65AE-45FC-9300-4E9DE62BC37E}" dt="2025-02-07T17:39:51.577" v="28" actId="6549"/>
          <ac:spMkLst>
            <pc:docMk/>
            <pc:sldMk cId="2738592241" sldId="863"/>
            <ac:spMk id="2" creationId="{55B60615-4321-D77A-2A6F-AD942965646B}"/>
          </ac:spMkLst>
        </pc:spChg>
        <pc:spChg chg="add mod">
          <ac:chgData name="John Baluka" userId="7068dd7de4bf55dd" providerId="LiveId" clId="{030D8783-65AE-45FC-9300-4E9DE62BC37E}" dt="2025-02-10T15:43:30.540" v="384" actId="1036"/>
          <ac:spMkLst>
            <pc:docMk/>
            <pc:sldMk cId="2738592241" sldId="863"/>
            <ac:spMk id="6" creationId="{46EB3B0F-E1C9-BD80-40EE-0407CCDC19C8}"/>
          </ac:spMkLst>
        </pc:spChg>
        <pc:spChg chg="mod">
          <ac:chgData name="John Baluka" userId="7068dd7de4bf55dd" providerId="LiveId" clId="{030D8783-65AE-45FC-9300-4E9DE62BC37E}" dt="2025-02-16T23:54:46.734" v="831" actId="14100"/>
          <ac:spMkLst>
            <pc:docMk/>
            <pc:sldMk cId="2738592241" sldId="863"/>
            <ac:spMk id="45" creationId="{E40E9B74-6AB2-45BF-4CF9-BBF2642DDB0D}"/>
          </ac:spMkLst>
        </pc:spChg>
        <pc:picChg chg="add del mod">
          <ac:chgData name="John Baluka" userId="7068dd7de4bf55dd" providerId="LiveId" clId="{030D8783-65AE-45FC-9300-4E9DE62BC37E}" dt="2025-02-17T00:21:20.457" v="855"/>
          <ac:picMkLst>
            <pc:docMk/>
            <pc:sldMk cId="2738592241" sldId="863"/>
            <ac:picMk id="7" creationId="{2D481556-AE4D-F593-C3E8-6B666B8691BC}"/>
          </ac:picMkLst>
        </pc:picChg>
        <pc:picChg chg="add mod">
          <ac:chgData name="John Baluka" userId="7068dd7de4bf55dd" providerId="LiveId" clId="{030D8783-65AE-45FC-9300-4E9DE62BC37E}" dt="2025-02-17T02:23:50.273" v="886"/>
          <ac:picMkLst>
            <pc:docMk/>
            <pc:sldMk cId="2738592241" sldId="863"/>
            <ac:picMk id="13" creationId="{0FDCDAB8-D653-596B-252A-B14244AC7F9C}"/>
          </ac:picMkLst>
        </pc:picChg>
        <pc:picChg chg="mod">
          <ac:chgData name="John Baluka" userId="7068dd7de4bf55dd" providerId="LiveId" clId="{030D8783-65AE-45FC-9300-4E9DE62BC37E}" dt="2025-02-13T12:04:29.709" v="777" actId="962"/>
          <ac:picMkLst>
            <pc:docMk/>
            <pc:sldMk cId="2738592241" sldId="863"/>
            <ac:picMk id="44" creationId="{9754F065-F12A-1F34-EBF8-55C8437E0DC2}"/>
          </ac:picMkLst>
        </pc:picChg>
        <pc:picChg chg="add mod">
          <ac:chgData name="John Baluka" userId="7068dd7de4bf55dd" providerId="LiveId" clId="{030D8783-65AE-45FC-9300-4E9DE62BC37E}" dt="2025-02-16T23:56:32.279" v="841"/>
          <ac:picMkLst>
            <pc:docMk/>
            <pc:sldMk cId="2738592241" sldId="863"/>
            <ac:picMk id="1026" creationId="{81DFDBD4-6F7C-4C15-C8E0-C37C23B77E4F}"/>
          </ac:picMkLst>
        </pc:picChg>
        <pc:cxnChg chg="mod">
          <ac:chgData name="John Baluka" userId="7068dd7de4bf55dd" providerId="LiveId" clId="{030D8783-65AE-45FC-9300-4E9DE62BC37E}" dt="2025-02-16T23:54:46.734" v="831" actId="14100"/>
          <ac:cxnSpMkLst>
            <pc:docMk/>
            <pc:sldMk cId="2738592241" sldId="863"/>
            <ac:cxnSpMk id="57" creationId="{E3619932-55D1-3162-C735-A351790D3BFC}"/>
          </ac:cxnSpMkLst>
        </pc:cxnChg>
      </pc:sldChg>
      <pc:sldChg chg="addSp delSp modSp mod modTransition modAnim modNotesTx">
        <pc:chgData name="John Baluka" userId="7068dd7de4bf55dd" providerId="LiveId" clId="{030D8783-65AE-45FC-9300-4E9DE62BC37E}" dt="2025-02-17T02:24:02.350" v="1114"/>
        <pc:sldMkLst>
          <pc:docMk/>
          <pc:sldMk cId="496482172" sldId="864"/>
        </pc:sldMkLst>
        <pc:spChg chg="mod">
          <ac:chgData name="John Baluka" userId="7068dd7de4bf55dd" providerId="LiveId" clId="{030D8783-65AE-45FC-9300-4E9DE62BC37E}" dt="2025-02-07T17:39:55.587" v="29" actId="6549"/>
          <ac:spMkLst>
            <pc:docMk/>
            <pc:sldMk cId="496482172" sldId="864"/>
            <ac:spMk id="2" creationId="{0132788E-68DB-D334-DD9C-7FF0C05113D9}"/>
          </ac:spMkLst>
        </pc:spChg>
        <pc:picChg chg="add mod">
          <ac:chgData name="John Baluka" userId="7068dd7de4bf55dd" providerId="LiveId" clId="{030D8783-65AE-45FC-9300-4E9DE62BC37E}" dt="2025-02-17T02:23:53.276" v="906"/>
          <ac:picMkLst>
            <pc:docMk/>
            <pc:sldMk cId="496482172" sldId="864"/>
            <ac:picMk id="3" creationId="{CC07B0B1-C072-50D0-D58A-17F068BE1CB7}"/>
          </ac:picMkLst>
        </pc:picChg>
        <pc:picChg chg="add del mod">
          <ac:chgData name="John Baluka" userId="7068dd7de4bf55dd" providerId="LiveId" clId="{030D8783-65AE-45FC-9300-4E9DE62BC37E}" dt="2025-02-17T00:21:20.457" v="855"/>
          <ac:picMkLst>
            <pc:docMk/>
            <pc:sldMk cId="496482172" sldId="864"/>
            <ac:picMk id="7" creationId="{48F0B3C7-E728-C467-0C1A-82E7525A1EEC}"/>
          </ac:picMkLst>
        </pc:picChg>
        <pc:picChg chg="mod">
          <ac:chgData name="John Baluka" userId="7068dd7de4bf55dd" providerId="LiveId" clId="{030D8783-65AE-45FC-9300-4E9DE62BC37E}" dt="2025-02-17T00:05:16.931" v="851"/>
          <ac:picMkLst>
            <pc:docMk/>
            <pc:sldMk cId="496482172" sldId="864"/>
            <ac:picMk id="12" creationId="{81D22CC4-20FA-F8CB-A763-1E02F10ABD57}"/>
          </ac:picMkLst>
        </pc:picChg>
        <pc:picChg chg="mod">
          <ac:chgData name="John Baluka" userId="7068dd7de4bf55dd" providerId="LiveId" clId="{030D8783-65AE-45FC-9300-4E9DE62BC37E}" dt="2025-02-17T00:02:16.404" v="848"/>
          <ac:picMkLst>
            <pc:docMk/>
            <pc:sldMk cId="496482172" sldId="864"/>
            <ac:picMk id="2050" creationId="{A166663B-3FCF-C639-A211-C0582387B4A4}"/>
          </ac:picMkLst>
        </pc:picChg>
        <pc:picChg chg="mod">
          <ac:chgData name="John Baluka" userId="7068dd7de4bf55dd" providerId="LiveId" clId="{030D8783-65AE-45FC-9300-4E9DE62BC37E}" dt="2025-02-17T00:02:25.388" v="849"/>
          <ac:picMkLst>
            <pc:docMk/>
            <pc:sldMk cId="496482172" sldId="864"/>
            <ac:picMk id="2052" creationId="{5EBAA5FD-2EFD-03DC-F5E4-9EABD250298C}"/>
          </ac:picMkLst>
        </pc:picChg>
        <pc:picChg chg="mod">
          <ac:chgData name="John Baluka" userId="7068dd7de4bf55dd" providerId="LiveId" clId="{030D8783-65AE-45FC-9300-4E9DE62BC37E}" dt="2025-02-17T00:02:38.691" v="850"/>
          <ac:picMkLst>
            <pc:docMk/>
            <pc:sldMk cId="496482172" sldId="864"/>
            <ac:picMk id="2056" creationId="{86D1DAEE-BB0B-1F4C-9DC7-2300CF620AC6}"/>
          </ac:picMkLst>
        </pc:picChg>
        <pc:picChg chg="mod">
          <ac:chgData name="John Baluka" userId="7068dd7de4bf55dd" providerId="LiveId" clId="{030D8783-65AE-45FC-9300-4E9DE62BC37E}" dt="2025-02-17T00:02:03.909" v="847"/>
          <ac:picMkLst>
            <pc:docMk/>
            <pc:sldMk cId="496482172" sldId="864"/>
            <ac:picMk id="2058" creationId="{071F38B0-6AC9-2CF3-F4AA-395DB21FCEC3}"/>
          </ac:picMkLst>
        </pc:picChg>
        <pc:picChg chg="mod">
          <ac:chgData name="John Baluka" userId="7068dd7de4bf55dd" providerId="LiveId" clId="{030D8783-65AE-45FC-9300-4E9DE62BC37E}" dt="2025-02-17T00:06:20.996" v="852"/>
          <ac:picMkLst>
            <pc:docMk/>
            <pc:sldMk cId="496482172" sldId="864"/>
            <ac:picMk id="2060" creationId="{51DC97EA-665E-8DA1-0EC3-1972AB79A0CE}"/>
          </ac:picMkLst>
        </pc:picChg>
        <pc:picChg chg="mod">
          <ac:chgData name="John Baluka" userId="7068dd7de4bf55dd" providerId="LiveId" clId="{030D8783-65AE-45FC-9300-4E9DE62BC37E}" dt="2025-02-17T00:07:03.226" v="853"/>
          <ac:picMkLst>
            <pc:docMk/>
            <pc:sldMk cId="496482172" sldId="864"/>
            <ac:picMk id="2062" creationId="{49CCA498-AD66-995E-D036-DF9C31FC6E25}"/>
          </ac:picMkLst>
        </pc:picChg>
        <pc:picChg chg="mod">
          <ac:chgData name="John Baluka" userId="7068dd7de4bf55dd" providerId="LiveId" clId="{030D8783-65AE-45FC-9300-4E9DE62BC37E}" dt="2025-02-17T00:07:48.086" v="854"/>
          <ac:picMkLst>
            <pc:docMk/>
            <pc:sldMk cId="496482172" sldId="864"/>
            <ac:picMk id="2064" creationId="{F9AED376-9B2F-437F-EE92-89DF149F3F07}"/>
          </ac:picMkLst>
        </pc:picChg>
      </pc:sldChg>
      <pc:sldChg chg="addSp delSp modSp mod modTransition modAnim modNotesTx">
        <pc:chgData name="John Baluka" userId="7068dd7de4bf55dd" providerId="LiveId" clId="{030D8783-65AE-45FC-9300-4E9DE62BC37E}" dt="2025-02-17T02:24:02.358" v="1168"/>
        <pc:sldMkLst>
          <pc:docMk/>
          <pc:sldMk cId="1113126988" sldId="866"/>
        </pc:sldMkLst>
        <pc:spChg chg="mod">
          <ac:chgData name="John Baluka" userId="7068dd7de4bf55dd" providerId="LiveId" clId="{030D8783-65AE-45FC-9300-4E9DE62BC37E}" dt="2025-02-07T17:40:04.572" v="31" actId="6549"/>
          <ac:spMkLst>
            <pc:docMk/>
            <pc:sldMk cId="1113126988" sldId="866"/>
            <ac:spMk id="2" creationId="{503BE458-2B2E-6B96-931E-C924E4F52390}"/>
          </ac:spMkLst>
        </pc:spChg>
        <pc:picChg chg="add mod">
          <ac:chgData name="John Baluka" userId="7068dd7de4bf55dd" providerId="LiveId" clId="{030D8783-65AE-45FC-9300-4E9DE62BC37E}" dt="2025-02-17T02:23:58.529" v="946"/>
          <ac:picMkLst>
            <pc:docMk/>
            <pc:sldMk cId="1113126988" sldId="866"/>
            <ac:picMk id="21" creationId="{33439F83-5D34-1E97-3DFB-2DF90A6F73DD}"/>
          </ac:picMkLst>
        </pc:picChg>
        <pc:picChg chg="add del mod">
          <ac:chgData name="John Baluka" userId="7068dd7de4bf55dd" providerId="LiveId" clId="{030D8783-65AE-45FC-9300-4E9DE62BC37E}" dt="2025-02-17T00:21:20.457" v="855"/>
          <ac:picMkLst>
            <pc:docMk/>
            <pc:sldMk cId="1113126988" sldId="866"/>
            <ac:picMk id="27" creationId="{2A9D3600-489C-DC3E-51C4-5D1E64E66D3C}"/>
          </ac:picMkLst>
        </pc:picChg>
      </pc:sldChg>
      <pc:sldChg chg="addSp delSp modSp mod modTransition setFolMasterAnim modAnim modNotesTx">
        <pc:chgData name="John Baluka" userId="7068dd7de4bf55dd" providerId="LiveId" clId="{030D8783-65AE-45FC-9300-4E9DE62BC37E}" dt="2025-02-17T02:24:02.352" v="1129"/>
        <pc:sldMkLst>
          <pc:docMk/>
          <pc:sldMk cId="716199274" sldId="867"/>
        </pc:sldMkLst>
        <pc:spChg chg="mod">
          <ac:chgData name="John Baluka" userId="7068dd7de4bf55dd" providerId="LiveId" clId="{030D8783-65AE-45FC-9300-4E9DE62BC37E}" dt="2025-02-07T17:39:59.594" v="30" actId="6549"/>
          <ac:spMkLst>
            <pc:docMk/>
            <pc:sldMk cId="716199274" sldId="867"/>
            <ac:spMk id="2" creationId="{37663477-AF91-DC18-FA50-58E67E484F47}"/>
          </ac:spMkLst>
        </pc:spChg>
        <pc:spChg chg="mod">
          <ac:chgData name="John Baluka" userId="7068dd7de4bf55dd" providerId="LiveId" clId="{030D8783-65AE-45FC-9300-4E9DE62BC37E}" dt="2025-02-06T12:34:08.386" v="7" actId="1076"/>
          <ac:spMkLst>
            <pc:docMk/>
            <pc:sldMk cId="716199274" sldId="867"/>
            <ac:spMk id="45" creationId="{C115FEE8-E2E3-57E9-37F8-A4DF83D3459D}"/>
          </ac:spMkLst>
        </pc:spChg>
        <pc:picChg chg="add mod">
          <ac:chgData name="John Baluka" userId="7068dd7de4bf55dd" providerId="LiveId" clId="{030D8783-65AE-45FC-9300-4E9DE62BC37E}" dt="2025-02-17T02:23:56.466" v="926"/>
          <ac:picMkLst>
            <pc:docMk/>
            <pc:sldMk cId="716199274" sldId="867"/>
            <ac:picMk id="6" creationId="{5E9DF2C9-8EA3-69F3-2A33-6587B8AFDF33}"/>
          </ac:picMkLst>
        </pc:picChg>
        <pc:picChg chg="add del mod">
          <ac:chgData name="John Baluka" userId="7068dd7de4bf55dd" providerId="LiveId" clId="{030D8783-65AE-45FC-9300-4E9DE62BC37E}" dt="2025-02-17T00:21:20.457" v="855"/>
          <ac:picMkLst>
            <pc:docMk/>
            <pc:sldMk cId="716199274" sldId="867"/>
            <ac:picMk id="9" creationId="{2CA4C38E-3E01-CC62-340E-F54F26D7BA8F}"/>
          </ac:picMkLst>
        </pc:picChg>
      </pc:sldChg>
      <pc:sldMasterChg chg="modSldLayout">
        <pc:chgData name="John Baluka" userId="7068dd7de4bf55dd" providerId="LiveId" clId="{030D8783-65AE-45FC-9300-4E9DE62BC37E}" dt="2025-02-16T23:49:57.507" v="813"/>
        <pc:sldMasterMkLst>
          <pc:docMk/>
          <pc:sldMasterMk cId="1202479639" sldId="2147483677"/>
        </pc:sldMasterMkLst>
        <pc:sldLayoutChg chg="addSp delSp modSp mod">
          <pc:chgData name="John Baluka" userId="7068dd7de4bf55dd" providerId="LiveId" clId="{030D8783-65AE-45FC-9300-4E9DE62BC37E}" dt="2025-02-16T23:49:57.507" v="813"/>
          <pc:sldLayoutMkLst>
            <pc:docMk/>
            <pc:sldMasterMk cId="1202479639" sldId="2147483677"/>
            <pc:sldLayoutMk cId="19805963" sldId="2147483674"/>
          </pc:sldLayoutMkLst>
          <pc:spChg chg="mod">
            <ac:chgData name="John Baluka" userId="7068dd7de4bf55dd" providerId="LiveId" clId="{030D8783-65AE-45FC-9300-4E9DE62BC37E}" dt="2025-02-11T22:03:25.192" v="771"/>
            <ac:spMkLst>
              <pc:docMk/>
              <pc:sldMasterMk cId="1202479639" sldId="2147483677"/>
              <pc:sldLayoutMk cId="19805963" sldId="2147483674"/>
              <ac:spMk id="3" creationId="{4ED32A9E-7BED-724F-4EA7-5839DDCD0305}"/>
            </ac:spMkLst>
          </pc:spChg>
          <pc:spChg chg="mod">
            <ac:chgData name="John Baluka" userId="7068dd7de4bf55dd" providerId="LiveId" clId="{030D8783-65AE-45FC-9300-4E9DE62BC37E}" dt="2025-02-11T22:04:23.574" v="772"/>
            <ac:spMkLst>
              <pc:docMk/>
              <pc:sldMasterMk cId="1202479639" sldId="2147483677"/>
              <pc:sldLayoutMk cId="19805963" sldId="2147483674"/>
              <ac:spMk id="8" creationId="{293C4B53-6DC3-AAC2-000D-73FDD7FFD076}"/>
            </ac:spMkLst>
          </pc:spChg>
          <pc:spChg chg="add mod ord">
            <ac:chgData name="John Baluka" userId="7068dd7de4bf55dd" providerId="LiveId" clId="{030D8783-65AE-45FC-9300-4E9DE62BC37E}" dt="2025-02-16T13:20:11.498" v="789" actId="14100"/>
            <ac:spMkLst>
              <pc:docMk/>
              <pc:sldMasterMk cId="1202479639" sldId="2147483677"/>
              <pc:sldLayoutMk cId="19805963" sldId="2147483674"/>
              <ac:spMk id="17" creationId="{56FB47D2-8492-22E4-672D-550731F01B27}"/>
            </ac:spMkLst>
          </pc:spChg>
          <pc:spChg chg="mod">
            <ac:chgData name="John Baluka" userId="7068dd7de4bf55dd" providerId="LiveId" clId="{030D8783-65AE-45FC-9300-4E9DE62BC37E}" dt="2025-02-16T13:19:32.363" v="786" actId="207"/>
            <ac:spMkLst>
              <pc:docMk/>
              <pc:sldMasterMk cId="1202479639" sldId="2147483677"/>
              <pc:sldLayoutMk cId="19805963" sldId="2147483674"/>
              <ac:spMk id="30" creationId="{49AE4AD1-471A-B867-CCF2-28D3A1FEB27B}"/>
            </ac:spMkLst>
          </pc:spChg>
          <pc:spChg chg="mod">
            <ac:chgData name="John Baluka" userId="7068dd7de4bf55dd" providerId="LiveId" clId="{030D8783-65AE-45FC-9300-4E9DE62BC37E}" dt="2025-02-16T13:19:39.818" v="787" actId="207"/>
            <ac:spMkLst>
              <pc:docMk/>
              <pc:sldMasterMk cId="1202479639" sldId="2147483677"/>
              <pc:sldLayoutMk cId="19805963" sldId="2147483674"/>
              <ac:spMk id="31" creationId="{ADC89931-5F38-9B5E-F338-7A8B9AA25C83}"/>
            </ac:spMkLst>
          </pc:spChg>
          <pc:picChg chg="mod">
            <ac:chgData name="John Baluka" userId="7068dd7de4bf55dd" providerId="LiveId" clId="{030D8783-65AE-45FC-9300-4E9DE62BC37E}" dt="2025-02-12T03:55:27.218" v="773" actId="962"/>
            <ac:picMkLst>
              <pc:docMk/>
              <pc:sldMasterMk cId="1202479639" sldId="2147483677"/>
              <pc:sldLayoutMk cId="19805963" sldId="2147483674"/>
              <ac:picMk id="9" creationId="{FFE9E454-6C56-81C7-429C-69E6AF73FB27}"/>
            </ac:picMkLst>
          </pc:picChg>
          <pc:picChg chg="mod">
            <ac:chgData name="John Baluka" userId="7068dd7de4bf55dd" providerId="LiveId" clId="{030D8783-65AE-45FC-9300-4E9DE62BC37E}" dt="2025-02-16T23:49:31.840" v="812"/>
            <ac:picMkLst>
              <pc:docMk/>
              <pc:sldMasterMk cId="1202479639" sldId="2147483677"/>
              <pc:sldLayoutMk cId="19805963" sldId="2147483674"/>
              <ac:picMk id="15" creationId="{342B171B-7030-F286-2361-8138B25335A7}"/>
            </ac:picMkLst>
          </pc:picChg>
          <pc:picChg chg="mod">
            <ac:chgData name="John Baluka" userId="7068dd7de4bf55dd" providerId="LiveId" clId="{030D8783-65AE-45FC-9300-4E9DE62BC37E}" dt="2025-02-16T23:48:45.291" v="811"/>
            <ac:picMkLst>
              <pc:docMk/>
              <pc:sldMasterMk cId="1202479639" sldId="2147483677"/>
              <pc:sldLayoutMk cId="19805963" sldId="2147483674"/>
              <ac:picMk id="16" creationId="{D85A5F8D-8E47-5FC6-988B-1A5575B28407}"/>
            </ac:picMkLst>
          </pc:picChg>
          <pc:picChg chg="mod">
            <ac:chgData name="John Baluka" userId="7068dd7de4bf55dd" providerId="LiveId" clId="{030D8783-65AE-45FC-9300-4E9DE62BC37E}" dt="2025-02-16T23:49:57.507" v="813"/>
            <ac:picMkLst>
              <pc:docMk/>
              <pc:sldMasterMk cId="1202479639" sldId="2147483677"/>
              <pc:sldLayoutMk cId="19805963" sldId="2147483674"/>
              <ac:picMk id="24" creationId="{830934DD-D55F-0ABC-40B3-0C54ACF85334}"/>
            </ac:picMkLst>
          </pc:picChg>
          <pc:picChg chg="mod">
            <ac:chgData name="John Baluka" userId="7068dd7de4bf55dd" providerId="LiveId" clId="{030D8783-65AE-45FC-9300-4E9DE62BC37E}" dt="2025-02-16T23:48:16.394" v="810"/>
            <ac:picMkLst>
              <pc:docMk/>
              <pc:sldMasterMk cId="1202479639" sldId="2147483677"/>
              <pc:sldLayoutMk cId="19805963" sldId="2147483674"/>
              <ac:picMk id="26" creationId="{F3776BA6-A264-D869-C5E9-003EE7D3FA42}"/>
            </ac:picMkLst>
          </pc:picChg>
          <pc:picChg chg="mod">
            <ac:chgData name="John Baluka" userId="7068dd7de4bf55dd" providerId="LiveId" clId="{030D8783-65AE-45FC-9300-4E9DE62BC37E}" dt="2025-02-16T23:47:43.278" v="808"/>
            <ac:picMkLst>
              <pc:docMk/>
              <pc:sldMasterMk cId="1202479639" sldId="2147483677"/>
              <pc:sldLayoutMk cId="19805963" sldId="2147483674"/>
              <ac:picMk id="29" creationId="{A58712AD-1EE2-BE97-5300-B37AF23A992B}"/>
            </ac:picMkLst>
          </pc:picChg>
          <pc:picChg chg="add del mod modCrop">
            <ac:chgData name="John Baluka" userId="7068dd7de4bf55dd" providerId="LiveId" clId="{030D8783-65AE-45FC-9300-4E9DE62BC37E}" dt="2025-02-16T23:47:51.755" v="809"/>
            <ac:picMkLst>
              <pc:docMk/>
              <pc:sldMasterMk cId="1202479639" sldId="2147483677"/>
              <pc:sldLayoutMk cId="19805963" sldId="2147483674"/>
              <ac:picMk id="37" creationId="{206A8BDA-B58E-DD61-744B-9D6F6D4CF9E4}"/>
            </ac:picMkLst>
          </pc:picChg>
        </pc:sldLayoutChg>
      </pc:sldMasterChg>
    </pc:docChg>
  </pc:docChgLst>
  <pc:docChgLst>
    <pc:chgData name="John Baluka" userId="7068dd7de4bf55dd" providerId="LiveId" clId="{A4BFEACE-8582-45F6-A6FE-316901CBE05A}"/>
    <pc:docChg chg="undo custSel modSld modMainMaster">
      <pc:chgData name="John Baluka" userId="7068dd7de4bf55dd" providerId="LiveId" clId="{A4BFEACE-8582-45F6-A6FE-316901CBE05A}" dt="2025-01-19T14:54:38.566" v="430" actId="14429"/>
      <pc:docMkLst>
        <pc:docMk/>
      </pc:docMkLst>
      <pc:sldChg chg="delSp modSp mod modTransition addAnim delAnim modAnim">
        <pc:chgData name="John Baluka" userId="7068dd7de4bf55dd" providerId="LiveId" clId="{A4BFEACE-8582-45F6-A6FE-316901CBE05A}" dt="2025-01-19T14:54:22.919" v="427"/>
        <pc:sldMkLst>
          <pc:docMk/>
          <pc:sldMk cId="1948209501" sldId="859"/>
        </pc:sldMkLst>
        <pc:spChg chg="mod">
          <ac:chgData name="John Baluka" userId="7068dd7de4bf55dd" providerId="LiveId" clId="{A4BFEACE-8582-45F6-A6FE-316901CBE05A}" dt="2025-01-19T13:37:07.189" v="398" actId="20577"/>
          <ac:spMkLst>
            <pc:docMk/>
            <pc:sldMk cId="1948209501" sldId="859"/>
            <ac:spMk id="2" creationId="{08E0EA74-660C-F1E7-9549-EF476072E5ED}"/>
          </ac:spMkLst>
        </pc:spChg>
        <pc:spChg chg="mod">
          <ac:chgData name="John Baluka" userId="7068dd7de4bf55dd" providerId="LiveId" clId="{A4BFEACE-8582-45F6-A6FE-316901CBE05A}" dt="2025-01-19T14:54:22.919" v="427"/>
          <ac:spMkLst>
            <pc:docMk/>
            <pc:sldMk cId="1948209501" sldId="859"/>
            <ac:spMk id="3" creationId="{93EFC8C2-816B-B012-B76B-9AB2EF74018B}"/>
          </ac:spMkLst>
        </pc:spChg>
        <pc:spChg chg="mod">
          <ac:chgData name="John Baluka" userId="7068dd7de4bf55dd" providerId="LiveId" clId="{A4BFEACE-8582-45F6-A6FE-316901CBE05A}" dt="2025-01-19T14:44:52.387" v="407" actId="20577"/>
          <ac:spMkLst>
            <pc:docMk/>
            <pc:sldMk cId="1948209501" sldId="859"/>
            <ac:spMk id="13" creationId="{A2CA8971-563D-57A6-9E33-2BEC4B4A457E}"/>
          </ac:spMkLst>
        </pc:spChg>
        <pc:spChg chg="mod">
          <ac:chgData name="John Baluka" userId="7068dd7de4bf55dd" providerId="LiveId" clId="{A4BFEACE-8582-45F6-A6FE-316901CBE05A}" dt="2025-01-18T13:17:19.421" v="124" actId="404"/>
          <ac:spMkLst>
            <pc:docMk/>
            <pc:sldMk cId="1948209501" sldId="859"/>
            <ac:spMk id="14" creationId="{77BC925A-9DB6-44EE-450C-DD83C8FD63AF}"/>
          </ac:spMkLst>
        </pc:spChg>
        <pc:spChg chg="mod">
          <ac:chgData name="John Baluka" userId="7068dd7de4bf55dd" providerId="LiveId" clId="{A4BFEACE-8582-45F6-A6FE-316901CBE05A}" dt="2025-01-19T14:44:22.390" v="402" actId="6549"/>
          <ac:spMkLst>
            <pc:docMk/>
            <pc:sldMk cId="1948209501" sldId="859"/>
            <ac:spMk id="15" creationId="{39778D51-D229-56DC-095E-3DA028E52072}"/>
          </ac:spMkLst>
        </pc:spChg>
        <pc:spChg chg="mod">
          <ac:chgData name="John Baluka" userId="7068dd7de4bf55dd" providerId="LiveId" clId="{A4BFEACE-8582-45F6-A6FE-316901CBE05A}" dt="2025-01-18T13:17:12.493" v="114" actId="403"/>
          <ac:spMkLst>
            <pc:docMk/>
            <pc:sldMk cId="1948209501" sldId="859"/>
            <ac:spMk id="16" creationId="{14ED5C52-6D46-2430-59AF-A4F8FDD3642E}"/>
          </ac:spMkLst>
        </pc:spChg>
        <pc:spChg chg="mod">
          <ac:chgData name="John Baluka" userId="7068dd7de4bf55dd" providerId="LiveId" clId="{A4BFEACE-8582-45F6-A6FE-316901CBE05A}" dt="2025-01-19T14:44:29.801" v="406" actId="6549"/>
          <ac:spMkLst>
            <pc:docMk/>
            <pc:sldMk cId="1948209501" sldId="859"/>
            <ac:spMk id="17" creationId="{600105D3-D10A-D1F8-D8E2-A11BE891D7F3}"/>
          </ac:spMkLst>
        </pc:spChg>
        <pc:spChg chg="mod">
          <ac:chgData name="John Baluka" userId="7068dd7de4bf55dd" providerId="LiveId" clId="{A4BFEACE-8582-45F6-A6FE-316901CBE05A}" dt="2025-01-18T13:25:36.968" v="181" actId="403"/>
          <ac:spMkLst>
            <pc:docMk/>
            <pc:sldMk cId="1948209501" sldId="859"/>
            <ac:spMk id="18" creationId="{C4685D4F-CA23-2842-BE47-19D93DEAF903}"/>
          </ac:spMkLst>
        </pc:spChg>
      </pc:sldChg>
      <pc:sldChg chg="addSp delSp modSp mod modTransition modAnim modNotesTx">
        <pc:chgData name="John Baluka" userId="7068dd7de4bf55dd" providerId="LiveId" clId="{A4BFEACE-8582-45F6-A6FE-316901CBE05A}" dt="2025-01-19T14:53:41.434" v="412" actId="20577"/>
        <pc:sldMkLst>
          <pc:docMk/>
          <pc:sldMk cId="623836634" sldId="860"/>
        </pc:sldMkLst>
        <pc:spChg chg="mod">
          <ac:chgData name="John Baluka" userId="7068dd7de4bf55dd" providerId="LiveId" clId="{A4BFEACE-8582-45F6-A6FE-316901CBE05A}" dt="2025-01-19T13:36:37.120" v="371" actId="20577"/>
          <ac:spMkLst>
            <pc:docMk/>
            <pc:sldMk cId="623836634" sldId="860"/>
            <ac:spMk id="5" creationId="{E3293B26-2E0E-77F8-390F-72519693D375}"/>
          </ac:spMkLst>
        </pc:spChg>
        <pc:spChg chg="mod">
          <ac:chgData name="John Baluka" userId="7068dd7de4bf55dd" providerId="LiveId" clId="{A4BFEACE-8582-45F6-A6FE-316901CBE05A}" dt="2025-01-19T14:53:41.434" v="412" actId="20577"/>
          <ac:spMkLst>
            <pc:docMk/>
            <pc:sldMk cId="623836634" sldId="860"/>
            <ac:spMk id="9" creationId="{B1939221-E28F-AA6C-8E55-F3560A84CB42}"/>
          </ac:spMkLst>
        </pc:spChg>
      </pc:sldChg>
      <pc:sldChg chg="delSp modSp mod modTransition modAnim">
        <pc:chgData name="John Baluka" userId="7068dd7de4bf55dd" providerId="LiveId" clId="{A4BFEACE-8582-45F6-A6FE-316901CBE05A}" dt="2025-01-19T14:54:38.566" v="430" actId="14429"/>
        <pc:sldMkLst>
          <pc:docMk/>
          <pc:sldMk cId="2738592241" sldId="863"/>
        </pc:sldMkLst>
        <pc:spChg chg="mod">
          <ac:chgData name="John Baluka" userId="7068dd7de4bf55dd" providerId="LiveId" clId="{A4BFEACE-8582-45F6-A6FE-316901CBE05A}" dt="2025-01-19T13:36:44.405" v="375" actId="20577"/>
          <ac:spMkLst>
            <pc:docMk/>
            <pc:sldMk cId="2738592241" sldId="863"/>
            <ac:spMk id="2" creationId="{55B60615-4321-D77A-2A6F-AD942965646B}"/>
          </ac:spMkLst>
        </pc:spChg>
        <pc:spChg chg="mod">
          <ac:chgData name="John Baluka" userId="7068dd7de4bf55dd" providerId="LiveId" clId="{A4BFEACE-8582-45F6-A6FE-316901CBE05A}" dt="2025-01-19T14:53:58.778" v="415"/>
          <ac:spMkLst>
            <pc:docMk/>
            <pc:sldMk cId="2738592241" sldId="863"/>
            <ac:spMk id="4" creationId="{8AF3872E-F004-608A-BB44-C8A2C69A7697}"/>
          </ac:spMkLst>
        </pc:spChg>
      </pc:sldChg>
      <pc:sldChg chg="delSp modSp mod modTransition modAnim">
        <pc:chgData name="John Baluka" userId="7068dd7de4bf55dd" providerId="LiveId" clId="{A4BFEACE-8582-45F6-A6FE-316901CBE05A}" dt="2025-01-19T14:54:35.872" v="429" actId="14429"/>
        <pc:sldMkLst>
          <pc:docMk/>
          <pc:sldMk cId="496482172" sldId="864"/>
        </pc:sldMkLst>
        <pc:spChg chg="mod">
          <ac:chgData name="John Baluka" userId="7068dd7de4bf55dd" providerId="LiveId" clId="{A4BFEACE-8582-45F6-A6FE-316901CBE05A}" dt="2025-01-19T13:36:48.264" v="379" actId="20577"/>
          <ac:spMkLst>
            <pc:docMk/>
            <pc:sldMk cId="496482172" sldId="864"/>
            <ac:spMk id="2" creationId="{0132788E-68DB-D334-DD9C-7FF0C05113D9}"/>
          </ac:spMkLst>
        </pc:spChg>
        <pc:spChg chg="mod">
          <ac:chgData name="John Baluka" userId="7068dd7de4bf55dd" providerId="LiveId" clId="{A4BFEACE-8582-45F6-A6FE-316901CBE05A}" dt="2025-01-19T14:54:04.526" v="418"/>
          <ac:spMkLst>
            <pc:docMk/>
            <pc:sldMk cId="496482172" sldId="864"/>
            <ac:spMk id="4" creationId="{7ED83DE2-5657-4BD4-B59D-2CF2A64C580E}"/>
          </ac:spMkLst>
        </pc:spChg>
      </pc:sldChg>
      <pc:sldChg chg="delSp modSp mod modTransition modAnim">
        <pc:chgData name="John Baluka" userId="7068dd7de4bf55dd" providerId="LiveId" clId="{A4BFEACE-8582-45F6-A6FE-316901CBE05A}" dt="2025-01-19T14:54:32.655" v="428" actId="14429"/>
        <pc:sldMkLst>
          <pc:docMk/>
          <pc:sldMk cId="1113126988" sldId="866"/>
        </pc:sldMkLst>
        <pc:spChg chg="mod">
          <ac:chgData name="John Baluka" userId="7068dd7de4bf55dd" providerId="LiveId" clId="{A4BFEACE-8582-45F6-A6FE-316901CBE05A}" dt="2025-01-19T13:36:57.532" v="387" actId="20577"/>
          <ac:spMkLst>
            <pc:docMk/>
            <pc:sldMk cId="1113126988" sldId="866"/>
            <ac:spMk id="2" creationId="{503BE458-2B2E-6B96-931E-C924E4F52390}"/>
          </ac:spMkLst>
        </pc:spChg>
        <pc:spChg chg="mod modVis">
          <ac:chgData name="John Baluka" userId="7068dd7de4bf55dd" providerId="LiveId" clId="{A4BFEACE-8582-45F6-A6FE-316901CBE05A}" dt="2025-01-19T14:54:32.655" v="428" actId="14429"/>
          <ac:spMkLst>
            <pc:docMk/>
            <pc:sldMk cId="1113126988" sldId="866"/>
            <ac:spMk id="3" creationId="{8C0E1E7A-6E13-BF97-334C-1FF54399A38F}"/>
          </ac:spMkLst>
        </pc:spChg>
        <pc:spChg chg="mod">
          <ac:chgData name="John Baluka" userId="7068dd7de4bf55dd" providerId="LiveId" clId="{A4BFEACE-8582-45F6-A6FE-316901CBE05A}" dt="2025-01-19T14:54:15.951" v="424"/>
          <ac:spMkLst>
            <pc:docMk/>
            <pc:sldMk cId="1113126988" sldId="866"/>
            <ac:spMk id="4" creationId="{7F8ED9CE-7F4A-80F8-6011-A7F813F2F3A6}"/>
          </ac:spMkLst>
        </pc:spChg>
      </pc:sldChg>
      <pc:sldChg chg="addSp delSp modSp mod modTransition modAnim">
        <pc:chgData name="John Baluka" userId="7068dd7de4bf55dd" providerId="LiveId" clId="{A4BFEACE-8582-45F6-A6FE-316901CBE05A}" dt="2025-01-19T14:54:10.326" v="421"/>
        <pc:sldMkLst>
          <pc:docMk/>
          <pc:sldMk cId="716199274" sldId="867"/>
        </pc:sldMkLst>
        <pc:spChg chg="mod">
          <ac:chgData name="John Baluka" userId="7068dd7de4bf55dd" providerId="LiveId" clId="{A4BFEACE-8582-45F6-A6FE-316901CBE05A}" dt="2025-01-19T13:36:52.420" v="383" actId="20577"/>
          <ac:spMkLst>
            <pc:docMk/>
            <pc:sldMk cId="716199274" sldId="867"/>
            <ac:spMk id="2" creationId="{37663477-AF91-DC18-FA50-58E67E484F47}"/>
          </ac:spMkLst>
        </pc:spChg>
        <pc:spChg chg="mod">
          <ac:chgData name="John Baluka" userId="7068dd7de4bf55dd" providerId="LiveId" clId="{A4BFEACE-8582-45F6-A6FE-316901CBE05A}" dt="2025-01-19T14:54:10.326" v="421"/>
          <ac:spMkLst>
            <pc:docMk/>
            <pc:sldMk cId="716199274" sldId="867"/>
            <ac:spMk id="4" creationId="{E5C70E86-F49F-0848-8EEB-94E757776E32}"/>
          </ac:spMkLst>
        </pc:spChg>
      </pc:sldChg>
      <pc:sldMasterChg chg="modSldLayout">
        <pc:chgData name="John Baluka" userId="7068dd7de4bf55dd" providerId="LiveId" clId="{A4BFEACE-8582-45F6-A6FE-316901CBE05A}" dt="2025-01-19T13:30:12.136" v="294" actId="113"/>
        <pc:sldMasterMkLst>
          <pc:docMk/>
          <pc:sldMasterMk cId="1202479639" sldId="2147483677"/>
        </pc:sldMasterMkLst>
        <pc:sldLayoutChg chg="addSp delSp modSp mod modAnim">
          <pc:chgData name="John Baluka" userId="7068dd7de4bf55dd" providerId="LiveId" clId="{A4BFEACE-8582-45F6-A6FE-316901CBE05A}" dt="2025-01-19T13:30:12.136" v="294" actId="113"/>
          <pc:sldLayoutMkLst>
            <pc:docMk/>
            <pc:sldMasterMk cId="1202479639" sldId="2147483677"/>
            <pc:sldLayoutMk cId="19805963" sldId="2147483674"/>
          </pc:sldLayoutMkLst>
          <pc:spChg chg="mod">
            <ac:chgData name="John Baluka" userId="7068dd7de4bf55dd" providerId="LiveId" clId="{A4BFEACE-8582-45F6-A6FE-316901CBE05A}" dt="2025-01-18T13:53:05.466" v="231" actId="962"/>
            <ac:spMkLst>
              <pc:docMk/>
              <pc:sldMasterMk cId="1202479639" sldId="2147483677"/>
              <pc:sldLayoutMk cId="19805963" sldId="2147483674"/>
              <ac:spMk id="3" creationId="{4ED32A9E-7BED-724F-4EA7-5839DDCD0305}"/>
            </ac:spMkLst>
          </pc:spChg>
          <pc:spChg chg="mod">
            <ac:chgData name="John Baluka" userId="7068dd7de4bf55dd" providerId="LiveId" clId="{A4BFEACE-8582-45F6-A6FE-316901CBE05A}" dt="2025-01-19T13:28:44.810" v="273" actId="113"/>
            <ac:spMkLst>
              <pc:docMk/>
              <pc:sldMasterMk cId="1202479639" sldId="2147483677"/>
              <pc:sldLayoutMk cId="19805963" sldId="2147483674"/>
              <ac:spMk id="4" creationId="{9EC1935E-8384-762B-E303-D8A34E5475D9}"/>
            </ac:spMkLst>
          </pc:spChg>
          <pc:spChg chg="mod">
            <ac:chgData name="John Baluka" userId="7068dd7de4bf55dd" providerId="LiveId" clId="{A4BFEACE-8582-45F6-A6FE-316901CBE05A}" dt="2025-01-19T13:29:21.391" v="275" actId="255"/>
            <ac:spMkLst>
              <pc:docMk/>
              <pc:sldMasterMk cId="1202479639" sldId="2147483677"/>
              <pc:sldLayoutMk cId="19805963" sldId="2147483674"/>
              <ac:spMk id="5" creationId="{DC5F23B7-FF51-FD3B-88ED-3388279DC957}"/>
            </ac:spMkLst>
          </pc:spChg>
          <pc:spChg chg="add del mod">
            <ac:chgData name="John Baluka" userId="7068dd7de4bf55dd" providerId="LiveId" clId="{A4BFEACE-8582-45F6-A6FE-316901CBE05A}" dt="2025-01-19T13:29:45.487" v="284" actId="113"/>
            <ac:spMkLst>
              <pc:docMk/>
              <pc:sldMasterMk cId="1202479639" sldId="2147483677"/>
              <pc:sldLayoutMk cId="19805963" sldId="2147483674"/>
              <ac:spMk id="6" creationId="{EFED535E-D63F-4CE2-1130-0C5F6B7F0463}"/>
            </ac:spMkLst>
          </pc:spChg>
          <pc:spChg chg="mod">
            <ac:chgData name="John Baluka" userId="7068dd7de4bf55dd" providerId="LiveId" clId="{A4BFEACE-8582-45F6-A6FE-316901CBE05A}" dt="2025-01-19T13:30:12.136" v="294" actId="113"/>
            <ac:spMkLst>
              <pc:docMk/>
              <pc:sldMasterMk cId="1202479639" sldId="2147483677"/>
              <pc:sldLayoutMk cId="19805963" sldId="2147483674"/>
              <ac:spMk id="7" creationId="{40D1D5F7-9B27-1865-6A40-6813C1ABD8F2}"/>
            </ac:spMkLst>
          </pc:spChg>
          <pc:spChg chg="mod">
            <ac:chgData name="John Baluka" userId="7068dd7de4bf55dd" providerId="LiveId" clId="{A4BFEACE-8582-45F6-A6FE-316901CBE05A}" dt="2025-01-19T13:26:14.475" v="244" actId="20577"/>
            <ac:spMkLst>
              <pc:docMk/>
              <pc:sldMasterMk cId="1202479639" sldId="2147483677"/>
              <pc:sldLayoutMk cId="19805963" sldId="2147483674"/>
              <ac:spMk id="8" creationId="{293C4B53-6DC3-AAC2-000D-73FDD7FFD076}"/>
            </ac:spMkLst>
          </pc:spChg>
        </pc:sldLayoutChg>
      </pc:sldMasterChg>
    </pc:docChg>
  </pc:docChgLst>
  <pc:docChgLst>
    <pc:chgData name="John Baluka" userId="7068dd7de4bf55dd" providerId="LiveId" clId="{2B577925-775B-4D79-B08F-5FC87434E0B4}"/>
    <pc:docChg chg="undo custSel addSld delSld modSld sldOrd modMainMaster modSection">
      <pc:chgData name="John Baluka" userId="7068dd7de4bf55dd" providerId="LiveId" clId="{2B577925-775B-4D79-B08F-5FC87434E0B4}" dt="2024-12-01T14:56:29.460" v="903" actId="1037"/>
      <pc:docMkLst>
        <pc:docMk/>
      </pc:docMkLst>
      <pc:sldChg chg="addSp delSp modSp mod delAnim modAnim modNotesTx">
        <pc:chgData name="John Baluka" userId="7068dd7de4bf55dd" providerId="LiveId" clId="{2B577925-775B-4D79-B08F-5FC87434E0B4}" dt="2024-12-01T14:53:55.521" v="899"/>
        <pc:sldMkLst>
          <pc:docMk/>
          <pc:sldMk cId="1948209501" sldId="859"/>
        </pc:sldMkLst>
        <pc:spChg chg="mod">
          <ac:chgData name="John Baluka" userId="7068dd7de4bf55dd" providerId="LiveId" clId="{2B577925-775B-4D79-B08F-5FC87434E0B4}" dt="2024-12-01T14:22:56.954" v="866" actId="20577"/>
          <ac:spMkLst>
            <pc:docMk/>
            <pc:sldMk cId="1948209501" sldId="859"/>
            <ac:spMk id="2" creationId="{08E0EA74-660C-F1E7-9549-EF476072E5ED}"/>
          </ac:spMkLst>
        </pc:spChg>
        <pc:spChg chg="mod">
          <ac:chgData name="John Baluka" userId="7068dd7de4bf55dd" providerId="LiveId" clId="{2B577925-775B-4D79-B08F-5FC87434E0B4}" dt="2024-12-01T14:34:24.973" v="892" actId="207"/>
          <ac:spMkLst>
            <pc:docMk/>
            <pc:sldMk cId="1948209501" sldId="859"/>
            <ac:spMk id="4" creationId="{E89F9F18-DE46-78F4-CFE1-9A10533596BC}"/>
          </ac:spMkLst>
        </pc:spChg>
        <pc:spChg chg="add mod">
          <ac:chgData name="John Baluka" userId="7068dd7de4bf55dd" providerId="LiveId" clId="{2B577925-775B-4D79-B08F-5FC87434E0B4}" dt="2024-12-01T14:22:48.632" v="859" actId="1038"/>
          <ac:spMkLst>
            <pc:docMk/>
            <pc:sldMk cId="1948209501" sldId="859"/>
            <ac:spMk id="7" creationId="{CE4E58DF-0875-4A21-AF01-3D20FCB0212D}"/>
          </ac:spMkLst>
        </pc:spChg>
      </pc:sldChg>
      <pc:sldChg chg="addSp delSp modSp mod delAnim modAnim">
        <pc:chgData name="John Baluka" userId="7068dd7de4bf55dd" providerId="LiveId" clId="{2B577925-775B-4D79-B08F-5FC87434E0B4}" dt="2024-12-01T14:53:55.521" v="899"/>
        <pc:sldMkLst>
          <pc:docMk/>
          <pc:sldMk cId="623836634" sldId="860"/>
        </pc:sldMkLst>
        <pc:spChg chg="add mod">
          <ac:chgData name="John Baluka" userId="7068dd7de4bf55dd" providerId="LiveId" clId="{2B577925-775B-4D79-B08F-5FC87434E0B4}" dt="2024-12-01T14:14:04.003" v="335"/>
          <ac:spMkLst>
            <pc:docMk/>
            <pc:sldMk cId="623836634" sldId="860"/>
            <ac:spMk id="2" creationId="{64EE1358-8DAE-2AFC-DB0D-5C6CAD274AC4}"/>
          </ac:spMkLst>
        </pc:spChg>
        <pc:spChg chg="mod modVis">
          <ac:chgData name="John Baluka" userId="7068dd7de4bf55dd" providerId="LiveId" clId="{2B577925-775B-4D79-B08F-5FC87434E0B4}" dt="2024-12-01T14:20:26.751" v="373" actId="20577"/>
          <ac:spMkLst>
            <pc:docMk/>
            <pc:sldMk cId="623836634" sldId="860"/>
            <ac:spMk id="5" creationId="{E3293B26-2E0E-77F8-390F-72519693D375}"/>
          </ac:spMkLst>
        </pc:spChg>
      </pc:sldChg>
      <pc:sldChg chg="addSp delSp modSp mod modAnim">
        <pc:chgData name="John Baluka" userId="7068dd7de4bf55dd" providerId="LiveId" clId="{2B577925-775B-4D79-B08F-5FC87434E0B4}" dt="2024-12-01T14:53:55.521" v="899"/>
        <pc:sldMkLst>
          <pc:docMk/>
          <pc:sldMk cId="2738592241" sldId="863"/>
        </pc:sldMkLst>
        <pc:spChg chg="mod">
          <ac:chgData name="John Baluka" userId="7068dd7de4bf55dd" providerId="LiveId" clId="{2B577925-775B-4D79-B08F-5FC87434E0B4}" dt="2024-12-01T14:20:14.676" v="369" actId="20577"/>
          <ac:spMkLst>
            <pc:docMk/>
            <pc:sldMk cId="2738592241" sldId="863"/>
            <ac:spMk id="2" creationId="{55B60615-4321-D77A-2A6F-AD942965646B}"/>
          </ac:spMkLst>
        </pc:spChg>
        <pc:spChg chg="add mod">
          <ac:chgData name="John Baluka" userId="7068dd7de4bf55dd" providerId="LiveId" clId="{2B577925-775B-4D79-B08F-5FC87434E0B4}" dt="2024-12-01T14:14:31.777" v="338" actId="1035"/>
          <ac:spMkLst>
            <pc:docMk/>
            <pc:sldMk cId="2738592241" sldId="863"/>
            <ac:spMk id="8" creationId="{FAE37D01-A926-FFEF-6CC6-3E0EDEFB8D85}"/>
          </ac:spMkLst>
        </pc:spChg>
      </pc:sldChg>
      <pc:sldChg chg="addSp delSp modSp mod delAnim modAnim">
        <pc:chgData name="John Baluka" userId="7068dd7de4bf55dd" providerId="LiveId" clId="{2B577925-775B-4D79-B08F-5FC87434E0B4}" dt="2024-12-01T14:53:55.521" v="899"/>
        <pc:sldMkLst>
          <pc:docMk/>
          <pc:sldMk cId="496482172" sldId="864"/>
        </pc:sldMkLst>
        <pc:spChg chg="mod">
          <ac:chgData name="John Baluka" userId="7068dd7de4bf55dd" providerId="LiveId" clId="{2B577925-775B-4D79-B08F-5FC87434E0B4}" dt="2024-12-01T14:20:40.333" v="374" actId="6549"/>
          <ac:spMkLst>
            <pc:docMk/>
            <pc:sldMk cId="496482172" sldId="864"/>
            <ac:spMk id="2" creationId="{0132788E-68DB-D334-DD9C-7FF0C05113D9}"/>
          </ac:spMkLst>
        </pc:spChg>
        <pc:spChg chg="add mod">
          <ac:chgData name="John Baluka" userId="7068dd7de4bf55dd" providerId="LiveId" clId="{2B577925-775B-4D79-B08F-5FC87434E0B4}" dt="2024-12-01T14:22:07.205" v="558" actId="1037"/>
          <ac:spMkLst>
            <pc:docMk/>
            <pc:sldMk cId="496482172" sldId="864"/>
            <ac:spMk id="6" creationId="{C3BC6355-6F9C-15EF-1744-845B4A600C19}"/>
          </ac:spMkLst>
        </pc:spChg>
      </pc:sldChg>
      <pc:sldChg chg="addSp delSp modSp del mod delAnim modAnim">
        <pc:chgData name="John Baluka" userId="7068dd7de4bf55dd" providerId="LiveId" clId="{2B577925-775B-4D79-B08F-5FC87434E0B4}" dt="2024-12-01T14:19:57.857" v="365" actId="47"/>
        <pc:sldMkLst>
          <pc:docMk/>
          <pc:sldMk cId="284217319" sldId="865"/>
        </pc:sldMkLst>
      </pc:sldChg>
      <pc:sldChg chg="addSp delSp modSp mod delAnim modAnim">
        <pc:chgData name="John Baluka" userId="7068dd7de4bf55dd" providerId="LiveId" clId="{2B577925-775B-4D79-B08F-5FC87434E0B4}" dt="2024-12-01T14:53:55.521" v="899"/>
        <pc:sldMkLst>
          <pc:docMk/>
          <pc:sldMk cId="1113126988" sldId="866"/>
        </pc:sldMkLst>
        <pc:spChg chg="mod">
          <ac:chgData name="John Baluka" userId="7068dd7de4bf55dd" providerId="LiveId" clId="{2B577925-775B-4D79-B08F-5FC87434E0B4}" dt="2024-12-01T14:21:03.627" v="376" actId="6549"/>
          <ac:spMkLst>
            <pc:docMk/>
            <pc:sldMk cId="1113126988" sldId="866"/>
            <ac:spMk id="2" creationId="{503BE458-2B2E-6B96-931E-C924E4F52390}"/>
          </ac:spMkLst>
        </pc:spChg>
        <pc:spChg chg="add mod">
          <ac:chgData name="John Baluka" userId="7068dd7de4bf55dd" providerId="LiveId" clId="{2B577925-775B-4D79-B08F-5FC87434E0B4}" dt="2024-12-01T14:22:21.837" v="676" actId="1038"/>
          <ac:spMkLst>
            <pc:docMk/>
            <pc:sldMk cId="1113126988" sldId="866"/>
            <ac:spMk id="11" creationId="{C9D64FA5-D40B-DF7F-8913-6E3504C32CE0}"/>
          </ac:spMkLst>
        </pc:spChg>
      </pc:sldChg>
      <pc:sldChg chg="addSp delSp modSp mod delAnim modAnim">
        <pc:chgData name="John Baluka" userId="7068dd7de4bf55dd" providerId="LiveId" clId="{2B577925-775B-4D79-B08F-5FC87434E0B4}" dt="2024-12-01T14:53:55.521" v="899"/>
        <pc:sldMkLst>
          <pc:docMk/>
          <pc:sldMk cId="716199274" sldId="867"/>
        </pc:sldMkLst>
        <pc:spChg chg="mod">
          <ac:chgData name="John Baluka" userId="7068dd7de4bf55dd" providerId="LiveId" clId="{2B577925-775B-4D79-B08F-5FC87434E0B4}" dt="2024-12-01T14:20:06.773" v="367" actId="6549"/>
          <ac:spMkLst>
            <pc:docMk/>
            <pc:sldMk cId="716199274" sldId="867"/>
            <ac:spMk id="2" creationId="{37663477-AF91-DC18-FA50-58E67E484F47}"/>
          </ac:spMkLst>
        </pc:spChg>
        <pc:spChg chg="add mod">
          <ac:chgData name="John Baluka" userId="7068dd7de4bf55dd" providerId="LiveId" clId="{2B577925-775B-4D79-B08F-5FC87434E0B4}" dt="2024-12-01T14:21:43.345" v="446" actId="1038"/>
          <ac:spMkLst>
            <pc:docMk/>
            <pc:sldMk cId="716199274" sldId="867"/>
            <ac:spMk id="3" creationId="{493C1A01-192F-1CBB-E178-878AF8E160A7}"/>
          </ac:spMkLst>
        </pc:spChg>
      </pc:sldChg>
      <pc:sldChg chg="addSp delSp modSp add del mod ord modAnim modNotesTx">
        <pc:chgData name="John Baluka" userId="7068dd7de4bf55dd" providerId="LiveId" clId="{2B577925-775B-4D79-B08F-5FC87434E0B4}" dt="2024-12-01T14:23:09.336" v="867" actId="47"/>
        <pc:sldMkLst>
          <pc:docMk/>
          <pc:sldMk cId="1078200666" sldId="868"/>
        </pc:sldMkLst>
      </pc:sldChg>
      <pc:sldMasterChg chg="addSldLayout modSldLayout sldLayoutOrd">
        <pc:chgData name="John Baluka" userId="7068dd7de4bf55dd" providerId="LiveId" clId="{2B577925-775B-4D79-B08F-5FC87434E0B4}" dt="2024-12-01T14:56:29.460" v="903" actId="1037"/>
        <pc:sldMasterMkLst>
          <pc:docMk/>
          <pc:sldMasterMk cId="1202479639" sldId="2147483677"/>
        </pc:sldMasterMkLst>
        <pc:sldLayoutChg chg="addSp delSp modSp mod ord modAnim">
          <pc:chgData name="John Baluka" userId="7068dd7de4bf55dd" providerId="LiveId" clId="{2B577925-775B-4D79-B08F-5FC87434E0B4}" dt="2024-12-01T14:56:29.460" v="903" actId="1037"/>
          <pc:sldLayoutMkLst>
            <pc:docMk/>
            <pc:sldMasterMk cId="1202479639" sldId="2147483677"/>
            <pc:sldLayoutMk cId="19805963" sldId="2147483674"/>
          </pc:sldLayoutMkLst>
          <pc:spChg chg="mod">
            <ac:chgData name="John Baluka" userId="7068dd7de4bf55dd" providerId="LiveId" clId="{2B577925-775B-4D79-B08F-5FC87434E0B4}" dt="2024-12-01T14:12:09.866" v="328" actId="1076"/>
            <ac:spMkLst>
              <pc:docMk/>
              <pc:sldMasterMk cId="1202479639" sldId="2147483677"/>
              <pc:sldLayoutMk cId="19805963" sldId="2147483674"/>
              <ac:spMk id="2" creationId="{2274E0CE-A1F2-E942-415D-5EAC45E16348}"/>
            </ac:spMkLst>
          </pc:spChg>
          <pc:spChg chg="add mod">
            <ac:chgData name="John Baluka" userId="7068dd7de4bf55dd" providerId="LiveId" clId="{2B577925-775B-4D79-B08F-5FC87434E0B4}" dt="2024-12-01T14:09:11.023" v="245"/>
            <ac:spMkLst>
              <pc:docMk/>
              <pc:sldMasterMk cId="1202479639" sldId="2147483677"/>
              <pc:sldLayoutMk cId="19805963" sldId="2147483674"/>
              <ac:spMk id="3" creationId="{4ED32A9E-7BED-724F-4EA7-5839DDCD0305}"/>
            </ac:spMkLst>
          </pc:spChg>
          <pc:spChg chg="add mod">
            <ac:chgData name="John Baluka" userId="7068dd7de4bf55dd" providerId="LiveId" clId="{2B577925-775B-4D79-B08F-5FC87434E0B4}" dt="2024-12-01T14:09:11.023" v="245"/>
            <ac:spMkLst>
              <pc:docMk/>
              <pc:sldMasterMk cId="1202479639" sldId="2147483677"/>
              <pc:sldLayoutMk cId="19805963" sldId="2147483674"/>
              <ac:spMk id="4" creationId="{9EC1935E-8384-762B-E303-D8A34E5475D9}"/>
            </ac:spMkLst>
          </pc:spChg>
          <pc:spChg chg="add mod">
            <ac:chgData name="John Baluka" userId="7068dd7de4bf55dd" providerId="LiveId" clId="{2B577925-775B-4D79-B08F-5FC87434E0B4}" dt="2024-12-01T14:09:11.023" v="245"/>
            <ac:spMkLst>
              <pc:docMk/>
              <pc:sldMasterMk cId="1202479639" sldId="2147483677"/>
              <pc:sldLayoutMk cId="19805963" sldId="2147483674"/>
              <ac:spMk id="5" creationId="{DC5F23B7-FF51-FD3B-88ED-3388279DC957}"/>
            </ac:spMkLst>
          </pc:spChg>
          <pc:spChg chg="add mod">
            <ac:chgData name="John Baluka" userId="7068dd7de4bf55dd" providerId="LiveId" clId="{2B577925-775B-4D79-B08F-5FC87434E0B4}" dt="2024-12-01T14:09:11.023" v="245"/>
            <ac:spMkLst>
              <pc:docMk/>
              <pc:sldMasterMk cId="1202479639" sldId="2147483677"/>
              <pc:sldLayoutMk cId="19805963" sldId="2147483674"/>
              <ac:spMk id="6" creationId="{EFED535E-D63F-4CE2-1130-0C5F6B7F0463}"/>
            </ac:spMkLst>
          </pc:spChg>
          <pc:spChg chg="add mod">
            <ac:chgData name="John Baluka" userId="7068dd7de4bf55dd" providerId="LiveId" clId="{2B577925-775B-4D79-B08F-5FC87434E0B4}" dt="2024-12-01T14:09:11.023" v="245"/>
            <ac:spMkLst>
              <pc:docMk/>
              <pc:sldMasterMk cId="1202479639" sldId="2147483677"/>
              <pc:sldLayoutMk cId="19805963" sldId="2147483674"/>
              <ac:spMk id="7" creationId="{40D1D5F7-9B27-1865-6A40-6813C1ABD8F2}"/>
            </ac:spMkLst>
          </pc:spChg>
          <pc:spChg chg="add mod">
            <ac:chgData name="John Baluka" userId="7068dd7de4bf55dd" providerId="LiveId" clId="{2B577925-775B-4D79-B08F-5FC87434E0B4}" dt="2024-12-01T14:09:11.023" v="245"/>
            <ac:spMkLst>
              <pc:docMk/>
              <pc:sldMasterMk cId="1202479639" sldId="2147483677"/>
              <pc:sldLayoutMk cId="19805963" sldId="2147483674"/>
              <ac:spMk id="8" creationId="{293C4B53-6DC3-AAC2-000D-73FDD7FFD076}"/>
            </ac:spMkLst>
          </pc:spChg>
          <pc:spChg chg="mod">
            <ac:chgData name="John Baluka" userId="7068dd7de4bf55dd" providerId="LiveId" clId="{2B577925-775B-4D79-B08F-5FC87434E0B4}" dt="2024-12-01T14:12:00.901" v="327" actId="1076"/>
            <ac:spMkLst>
              <pc:docMk/>
              <pc:sldMasterMk cId="1202479639" sldId="2147483677"/>
              <pc:sldLayoutMk cId="19805963" sldId="2147483674"/>
              <ac:spMk id="10" creationId="{00000000-0000-0000-0000-000000000000}"/>
            </ac:spMkLst>
          </pc:spChg>
          <pc:spChg chg="add mod ord">
            <ac:chgData name="John Baluka" userId="7068dd7de4bf55dd" providerId="LiveId" clId="{2B577925-775B-4D79-B08F-5FC87434E0B4}" dt="2024-12-01T14:11:06.592" v="277" actId="167"/>
            <ac:spMkLst>
              <pc:docMk/>
              <pc:sldMasterMk cId="1202479639" sldId="2147483677"/>
              <pc:sldLayoutMk cId="19805963" sldId="2147483674"/>
              <ac:spMk id="22" creationId="{C63E96A8-6EB4-A873-1E29-BC4D5B5DB164}"/>
            </ac:spMkLst>
          </pc:spChg>
          <pc:picChg chg="add mod">
            <ac:chgData name="John Baluka" userId="7068dd7de4bf55dd" providerId="LiveId" clId="{2B577925-775B-4D79-B08F-5FC87434E0B4}" dt="2024-12-01T14:56:29.460" v="903" actId="1037"/>
            <ac:picMkLst>
              <pc:docMk/>
              <pc:sldMasterMk cId="1202479639" sldId="2147483677"/>
              <pc:sldLayoutMk cId="19805963" sldId="2147483674"/>
              <ac:picMk id="24" creationId="{830934DD-D55F-0ABC-40B3-0C54ACF85334}"/>
            </ac:picMkLst>
          </pc:picChg>
          <pc:picChg chg="add mod">
            <ac:chgData name="John Baluka" userId="7068dd7de4bf55dd" providerId="LiveId" clId="{2B577925-775B-4D79-B08F-5FC87434E0B4}" dt="2024-12-01T14:56:29.460" v="903" actId="1037"/>
            <ac:picMkLst>
              <pc:docMk/>
              <pc:sldMasterMk cId="1202479639" sldId="2147483677"/>
              <pc:sldLayoutMk cId="19805963" sldId="2147483674"/>
              <ac:picMk id="26" creationId="{F3776BA6-A264-D869-C5E9-003EE7D3FA42}"/>
            </ac:picMkLst>
          </pc:picChg>
        </pc:sldLayoutChg>
        <pc:sldLayoutChg chg="add mod modTransition">
          <pc:chgData name="John Baluka" userId="7068dd7de4bf55dd" providerId="LiveId" clId="{2B577925-775B-4D79-B08F-5FC87434E0B4}" dt="2024-12-01T14:07:30.566" v="244" actId="2890"/>
          <pc:sldLayoutMkLst>
            <pc:docMk/>
            <pc:sldMasterMk cId="1202479639" sldId="2147483677"/>
            <pc:sldLayoutMk cId="1866704110" sldId="2147483694"/>
          </pc:sldLayoutMkLst>
        </pc:sldLayoutChg>
      </pc:sldMasterChg>
    </pc:docChg>
  </pc:docChgLst>
  <pc:docChgLst>
    <pc:chgData name="John Baluka" userId="7068dd7de4bf55dd" providerId="LiveId" clId="{D450FF13-4C44-47DD-82DB-E59E0C6E9CAB}"/>
    <pc:docChg chg="undo custSel addSld delSld modSld">
      <pc:chgData name="John Baluka" userId="7068dd7de4bf55dd" providerId="LiveId" clId="{D450FF13-4C44-47DD-82DB-E59E0C6E9CAB}" dt="2024-08-01T20:20:41.399" v="21" actId="47"/>
      <pc:docMkLst>
        <pc:docMk/>
      </pc:docMkLst>
      <pc:sldChg chg="modNotesTx">
        <pc:chgData name="John Baluka" userId="7068dd7de4bf55dd" providerId="LiveId" clId="{D450FF13-4C44-47DD-82DB-E59E0C6E9CAB}" dt="2024-07-28T02:02:25.414" v="19" actId="20577"/>
        <pc:sldMkLst>
          <pc:docMk/>
          <pc:sldMk cId="4229997057" sldId="725"/>
        </pc:sldMkLst>
      </pc:sldChg>
      <pc:sldChg chg="addSp delSp modSp mod modNotesTx">
        <pc:chgData name="John Baluka" userId="7068dd7de4bf55dd" providerId="LiveId" clId="{D450FF13-4C44-47DD-82DB-E59E0C6E9CAB}" dt="2024-07-28T01:53:51.847" v="16" actId="6549"/>
        <pc:sldMkLst>
          <pc:docMk/>
          <pc:sldMk cId="1142799067" sldId="726"/>
        </pc:sldMkLst>
      </pc:sldChg>
      <pc:sldChg chg="new del">
        <pc:chgData name="John Baluka" userId="7068dd7de4bf55dd" providerId="LiveId" clId="{D450FF13-4C44-47DD-82DB-E59E0C6E9CAB}" dt="2024-08-01T20:20:41.399" v="21" actId="47"/>
        <pc:sldMkLst>
          <pc:docMk/>
          <pc:sldMk cId="4167812340" sldId="728"/>
        </pc:sldMkLst>
      </pc:sldChg>
    </pc:docChg>
  </pc:docChgLst>
  <pc:docChgLst>
    <pc:chgData name="John Baluka" userId="7068dd7de4bf55dd" providerId="LiveId" clId="{C2E4ABBA-8F10-4BAC-B9F7-AA98562CA82E}"/>
    <pc:docChg chg="custSel modSld">
      <pc:chgData name="John Baluka" userId="7068dd7de4bf55dd" providerId="LiveId" clId="{C2E4ABBA-8F10-4BAC-B9F7-AA98562CA82E}" dt="2024-06-20T04:32:47.703" v="593" actId="255"/>
      <pc:docMkLst>
        <pc:docMk/>
      </pc:docMkLst>
      <pc:sldChg chg="modNotesTx">
        <pc:chgData name="John Baluka" userId="7068dd7de4bf55dd" providerId="LiveId" clId="{C2E4ABBA-8F10-4BAC-B9F7-AA98562CA82E}" dt="2024-06-20T04:31:40.009" v="588" actId="255"/>
        <pc:sldMkLst>
          <pc:docMk/>
          <pc:sldMk cId="490548130" sldId="709"/>
        </pc:sldMkLst>
      </pc:sldChg>
      <pc:sldChg chg="addSp modSp mod modTransition modAnim replTag modNotesTx">
        <pc:chgData name="John Baluka" userId="7068dd7de4bf55dd" providerId="LiveId" clId="{C2E4ABBA-8F10-4BAC-B9F7-AA98562CA82E}" dt="2024-06-20T04:31:44.546" v="589" actId="255"/>
        <pc:sldMkLst>
          <pc:docMk/>
          <pc:sldMk cId="2998556294" sldId="710"/>
        </pc:sldMkLst>
      </pc:sldChg>
      <pc:sldChg chg="addSp modSp mod modTransition modAnim modNotesTx">
        <pc:chgData name="John Baluka" userId="7068dd7de4bf55dd" providerId="LiveId" clId="{C2E4ABBA-8F10-4BAC-B9F7-AA98562CA82E}" dt="2024-06-20T04:31:49.551" v="590" actId="255"/>
        <pc:sldMkLst>
          <pc:docMk/>
          <pc:sldMk cId="2886236356" sldId="711"/>
        </pc:sldMkLst>
      </pc:sldChg>
      <pc:sldChg chg="addSp modSp mod modTransition modAnim replTag modNotesTx">
        <pc:chgData name="John Baluka" userId="7068dd7de4bf55dd" providerId="LiveId" clId="{C2E4ABBA-8F10-4BAC-B9F7-AA98562CA82E}" dt="2024-06-20T04:31:54.440" v="591" actId="255"/>
        <pc:sldMkLst>
          <pc:docMk/>
          <pc:sldMk cId="3763520485" sldId="712"/>
        </pc:sldMkLst>
      </pc:sldChg>
      <pc:sldChg chg="modNotesTx">
        <pc:chgData name="John Baluka" userId="7068dd7de4bf55dd" providerId="LiveId" clId="{C2E4ABBA-8F10-4BAC-B9F7-AA98562CA82E}" dt="2024-06-20T04:32:04.345" v="592" actId="255"/>
        <pc:sldMkLst>
          <pc:docMk/>
          <pc:sldMk cId="2180654885" sldId="714"/>
        </pc:sldMkLst>
      </pc:sldChg>
      <pc:sldChg chg="addSp modSp mod modTransition modAnim replTag modNotesTx">
        <pc:chgData name="John Baluka" userId="7068dd7de4bf55dd" providerId="LiveId" clId="{C2E4ABBA-8F10-4BAC-B9F7-AA98562CA82E}" dt="2024-06-20T04:32:47.703" v="593" actId="255"/>
        <pc:sldMkLst>
          <pc:docMk/>
          <pc:sldMk cId="4040757370" sldId="715"/>
        </pc:sldMkLst>
      </pc:sldChg>
      <pc:sldChg chg="addSp modSp mod modTransition modAnim modNotesTx">
        <pc:chgData name="John Baluka" userId="7068dd7de4bf55dd" providerId="LiveId" clId="{C2E4ABBA-8F10-4BAC-B9F7-AA98562CA82E}" dt="2024-06-20T04:31:18.104" v="585" actId="255"/>
        <pc:sldMkLst>
          <pc:docMk/>
          <pc:sldMk cId="1415566506" sldId="718"/>
        </pc:sldMkLst>
      </pc:sldChg>
      <pc:sldChg chg="addSp modSp mod modTransition modAnim replTag modNotesTx">
        <pc:chgData name="John Baluka" userId="7068dd7de4bf55dd" providerId="LiveId" clId="{C2E4ABBA-8F10-4BAC-B9F7-AA98562CA82E}" dt="2024-06-20T04:31:07.998" v="583" actId="255"/>
        <pc:sldMkLst>
          <pc:docMk/>
          <pc:sldMk cId="3715884362" sldId="720"/>
        </pc:sldMkLst>
      </pc:sldChg>
      <pc:sldChg chg="addSp modSp mod modTransition modAnim replTag modNotesTx">
        <pc:chgData name="John Baluka" userId="7068dd7de4bf55dd" providerId="LiveId" clId="{C2E4ABBA-8F10-4BAC-B9F7-AA98562CA82E}" dt="2024-06-20T04:31:23.734" v="586" actId="255"/>
        <pc:sldMkLst>
          <pc:docMk/>
          <pc:sldMk cId="1257981742" sldId="721"/>
        </pc:sldMkLst>
      </pc:sldChg>
      <pc:sldChg chg="addSp modSp mod modTransition modAnim replTag modNotesTx">
        <pc:chgData name="John Baluka" userId="7068dd7de4bf55dd" providerId="LiveId" clId="{C2E4ABBA-8F10-4BAC-B9F7-AA98562CA82E}" dt="2024-06-20T04:31:30.875" v="587" actId="255"/>
        <pc:sldMkLst>
          <pc:docMk/>
          <pc:sldMk cId="3315616603" sldId="723"/>
        </pc:sldMkLst>
      </pc:sldChg>
      <pc:sldChg chg="addSp delSp modSp mod modTransition modAnim replTag modNotesTx">
        <pc:chgData name="John Baluka" userId="7068dd7de4bf55dd" providerId="LiveId" clId="{C2E4ABBA-8F10-4BAC-B9F7-AA98562CA82E}" dt="2024-06-20T04:29:23.771" v="576" actId="255"/>
        <pc:sldMkLst>
          <pc:docMk/>
          <pc:sldMk cId="2474625852" sldId="724"/>
        </pc:sldMkLst>
      </pc:sldChg>
      <pc:sldChg chg="modNotesTx">
        <pc:chgData name="John Baluka" userId="7068dd7de4bf55dd" providerId="LiveId" clId="{C2E4ABBA-8F10-4BAC-B9F7-AA98562CA82E}" dt="2024-06-20T04:30:14.196" v="580" actId="255"/>
        <pc:sldMkLst>
          <pc:docMk/>
          <pc:sldMk cId="4229997057" sldId="725"/>
        </pc:sldMkLst>
      </pc:sldChg>
      <pc:sldChg chg="addSp modSp mod modTransition modAnim replTag modNotesTx">
        <pc:chgData name="John Baluka" userId="7068dd7de4bf55dd" providerId="LiveId" clId="{C2E4ABBA-8F10-4BAC-B9F7-AA98562CA82E}" dt="2024-06-20T04:30:33.398" v="581" actId="255"/>
        <pc:sldMkLst>
          <pc:docMk/>
          <pc:sldMk cId="1142799067" sldId="726"/>
        </pc:sldMkLst>
      </pc:sldChg>
      <pc:sldChg chg="addSp modSp mod modTransition modAnim modNotesTx">
        <pc:chgData name="John Baluka" userId="7068dd7de4bf55dd" providerId="LiveId" clId="{C2E4ABBA-8F10-4BAC-B9F7-AA98562CA82E}" dt="2024-06-20T04:30:38.710" v="582" actId="255"/>
        <pc:sldMkLst>
          <pc:docMk/>
          <pc:sldMk cId="1479168164" sldId="727"/>
        </pc:sldMkLst>
      </pc:sldChg>
    </pc:docChg>
  </pc:docChgLst>
  <pc:docChgLst>
    <pc:chgData name="John Baluka" userId="7068dd7de4bf55dd" providerId="LiveId" clId="{8B678E5F-3205-415B-9A5D-EF98A99AC0EB}"/>
    <pc:docChg chg="undo redo custSel addSld delSld modSld sldOrd modMainMaster addSection delSection modSection">
      <pc:chgData name="John Baluka" userId="7068dd7de4bf55dd" providerId="LiveId" clId="{8B678E5F-3205-415B-9A5D-EF98A99AC0EB}" dt="2025-01-18T12:21:45.235" v="7336"/>
      <pc:docMkLst>
        <pc:docMk/>
      </pc:docMkLst>
      <pc:sldChg chg="addSp delSp modSp add del mod modClrScheme chgLayout">
        <pc:chgData name="John Baluka" userId="7068dd7de4bf55dd" providerId="LiveId" clId="{8B678E5F-3205-415B-9A5D-EF98A99AC0EB}" dt="2024-09-22T13:06:18.244" v="314" actId="47"/>
        <pc:sldMkLst>
          <pc:docMk/>
          <pc:sldMk cId="4204510136" sldId="280"/>
        </pc:sldMkLst>
      </pc:sldChg>
      <pc:sldChg chg="addSp delSp modSp del mod ord modTransition delAnim modAnim chgLayout modNotesTx">
        <pc:chgData name="John Baluka" userId="7068dd7de4bf55dd" providerId="LiveId" clId="{8B678E5F-3205-415B-9A5D-EF98A99AC0EB}" dt="2024-11-09T15:35:27.621" v="3051" actId="47"/>
        <pc:sldMkLst>
          <pc:docMk/>
          <pc:sldMk cId="490548130" sldId="709"/>
        </pc:sldMkLst>
      </pc:sldChg>
      <pc:sldChg chg="delSp modSp del mod modTransition modAnim">
        <pc:chgData name="John Baluka" userId="7068dd7de4bf55dd" providerId="LiveId" clId="{8B678E5F-3205-415B-9A5D-EF98A99AC0EB}" dt="2024-09-22T23:59:27.813" v="1231" actId="47"/>
        <pc:sldMkLst>
          <pc:docMk/>
          <pc:sldMk cId="2998556294" sldId="710"/>
        </pc:sldMkLst>
      </pc:sldChg>
      <pc:sldChg chg="addSp delSp modSp del mod ord modTransition modAnim chgLayout modNotesTx">
        <pc:chgData name="John Baluka" userId="7068dd7de4bf55dd" providerId="LiveId" clId="{8B678E5F-3205-415B-9A5D-EF98A99AC0EB}" dt="2024-11-09T15:35:19.552" v="3049" actId="47"/>
        <pc:sldMkLst>
          <pc:docMk/>
          <pc:sldMk cId="2886236356" sldId="711"/>
        </pc:sldMkLst>
      </pc:sldChg>
      <pc:sldChg chg="delSp modSp del mod modTransition modAnim">
        <pc:chgData name="John Baluka" userId="7068dd7de4bf55dd" providerId="LiveId" clId="{8B678E5F-3205-415B-9A5D-EF98A99AC0EB}" dt="2024-09-22T23:55:03.218" v="1154" actId="47"/>
        <pc:sldMkLst>
          <pc:docMk/>
          <pc:sldMk cId="3763520485" sldId="712"/>
        </pc:sldMkLst>
      </pc:sldChg>
      <pc:sldChg chg="addSp delSp modSp del mod ord modTransition delAnim modAnim chgLayout modNotesTx">
        <pc:chgData name="John Baluka" userId="7068dd7de4bf55dd" providerId="LiveId" clId="{8B678E5F-3205-415B-9A5D-EF98A99AC0EB}" dt="2024-11-09T15:35:43.321" v="3052" actId="47"/>
        <pc:sldMkLst>
          <pc:docMk/>
          <pc:sldMk cId="2180654885" sldId="714"/>
        </pc:sldMkLst>
      </pc:sldChg>
      <pc:sldChg chg="delSp modSp del mod modTransition modAnim">
        <pc:chgData name="John Baluka" userId="7068dd7de4bf55dd" providerId="LiveId" clId="{8B678E5F-3205-415B-9A5D-EF98A99AC0EB}" dt="2024-09-22T23:59:13.492" v="1230" actId="47"/>
        <pc:sldMkLst>
          <pc:docMk/>
          <pc:sldMk cId="4040757370" sldId="715"/>
        </pc:sldMkLst>
      </pc:sldChg>
      <pc:sldChg chg="delSp modSp del mod modTransition modAnim">
        <pc:chgData name="John Baluka" userId="7068dd7de4bf55dd" providerId="LiveId" clId="{8B678E5F-3205-415B-9A5D-EF98A99AC0EB}" dt="2024-09-22T23:59:27.813" v="1231" actId="47"/>
        <pc:sldMkLst>
          <pc:docMk/>
          <pc:sldMk cId="1415566506" sldId="718"/>
        </pc:sldMkLst>
      </pc:sldChg>
      <pc:sldChg chg="delSp modSp del mod modTransition modAnim">
        <pc:chgData name="John Baluka" userId="7068dd7de4bf55dd" providerId="LiveId" clId="{8B678E5F-3205-415B-9A5D-EF98A99AC0EB}" dt="2024-09-22T23:54:31.946" v="1153" actId="47"/>
        <pc:sldMkLst>
          <pc:docMk/>
          <pc:sldMk cId="3715884362" sldId="720"/>
        </pc:sldMkLst>
      </pc:sldChg>
      <pc:sldChg chg="addSp delSp modSp del mod modTransition delAnim modAnim chgLayout">
        <pc:chgData name="John Baluka" userId="7068dd7de4bf55dd" providerId="LiveId" clId="{8B678E5F-3205-415B-9A5D-EF98A99AC0EB}" dt="2024-09-22T23:59:27.813" v="1231" actId="47"/>
        <pc:sldMkLst>
          <pc:docMk/>
          <pc:sldMk cId="1257981742" sldId="721"/>
        </pc:sldMkLst>
      </pc:sldChg>
      <pc:sldChg chg="addSp delSp modSp del mod modTransition modAnim chgLayout">
        <pc:chgData name="John Baluka" userId="7068dd7de4bf55dd" providerId="LiveId" clId="{8B678E5F-3205-415B-9A5D-EF98A99AC0EB}" dt="2024-09-22T23:59:27.813" v="1231" actId="47"/>
        <pc:sldMkLst>
          <pc:docMk/>
          <pc:sldMk cId="3315616603" sldId="723"/>
        </pc:sldMkLst>
      </pc:sldChg>
      <pc:sldChg chg="delSp modSp del mod modTransition modAnim">
        <pc:chgData name="John Baluka" userId="7068dd7de4bf55dd" providerId="LiveId" clId="{8B678E5F-3205-415B-9A5D-EF98A99AC0EB}" dt="2024-09-23T00:02:54.714" v="1238" actId="47"/>
        <pc:sldMkLst>
          <pc:docMk/>
          <pc:sldMk cId="2474625852" sldId="724"/>
        </pc:sldMkLst>
      </pc:sldChg>
      <pc:sldChg chg="delSp modSp add del mod modTransition modAnim">
        <pc:chgData name="John Baluka" userId="7068dd7de4bf55dd" providerId="LiveId" clId="{8B678E5F-3205-415B-9A5D-EF98A99AC0EB}" dt="2024-09-22T23:54:20.278" v="1150" actId="47"/>
        <pc:sldMkLst>
          <pc:docMk/>
          <pc:sldMk cId="4229997057" sldId="725"/>
        </pc:sldMkLst>
      </pc:sldChg>
      <pc:sldChg chg="delSp modSp del mod modTransition modAnim">
        <pc:chgData name="John Baluka" userId="7068dd7de4bf55dd" providerId="LiveId" clId="{8B678E5F-3205-415B-9A5D-EF98A99AC0EB}" dt="2024-09-22T23:54:25.685" v="1151" actId="47"/>
        <pc:sldMkLst>
          <pc:docMk/>
          <pc:sldMk cId="1142799067" sldId="726"/>
        </pc:sldMkLst>
      </pc:sldChg>
      <pc:sldChg chg="delSp modSp del mod modTransition modAnim">
        <pc:chgData name="John Baluka" userId="7068dd7de4bf55dd" providerId="LiveId" clId="{8B678E5F-3205-415B-9A5D-EF98A99AC0EB}" dt="2024-09-22T23:54:29.394" v="1152" actId="47"/>
        <pc:sldMkLst>
          <pc:docMk/>
          <pc:sldMk cId="1479168164" sldId="727"/>
        </pc:sldMkLst>
      </pc:sldChg>
      <pc:sldChg chg="new del ord">
        <pc:chgData name="John Baluka" userId="7068dd7de4bf55dd" providerId="LiveId" clId="{8B678E5F-3205-415B-9A5D-EF98A99AC0EB}" dt="2024-08-26T13:46:43.222" v="15" actId="47"/>
        <pc:sldMkLst>
          <pc:docMk/>
          <pc:sldMk cId="2123293215" sldId="728"/>
        </pc:sldMkLst>
      </pc:sldChg>
      <pc:sldChg chg="new del">
        <pc:chgData name="John Baluka" userId="7068dd7de4bf55dd" providerId="LiveId" clId="{8B678E5F-3205-415B-9A5D-EF98A99AC0EB}" dt="2024-08-26T13:44:29.134" v="4" actId="47"/>
        <pc:sldMkLst>
          <pc:docMk/>
          <pc:sldMk cId="3591263710" sldId="728"/>
        </pc:sldMkLst>
      </pc:sldChg>
      <pc:sldChg chg="addSp delSp modSp new del mod ord modClrScheme chgLayout">
        <pc:chgData name="John Baluka" userId="7068dd7de4bf55dd" providerId="LiveId" clId="{8B678E5F-3205-415B-9A5D-EF98A99AC0EB}" dt="2024-09-22T23:53:05.976" v="1144" actId="18676"/>
        <pc:sldMkLst>
          <pc:docMk/>
          <pc:sldMk cId="2238339944" sldId="729"/>
        </pc:sldMkLst>
      </pc:sldChg>
      <pc:sldChg chg="modSp new del mod">
        <pc:chgData name="John Baluka" userId="7068dd7de4bf55dd" providerId="LiveId" clId="{8B678E5F-3205-415B-9A5D-EF98A99AC0EB}" dt="2024-09-22T23:53:23.487" v="1147" actId="18676"/>
        <pc:sldMkLst>
          <pc:docMk/>
          <pc:sldMk cId="986107661" sldId="730"/>
        </pc:sldMkLst>
      </pc:sldChg>
      <pc:sldChg chg="modSp new del mod ord">
        <pc:chgData name="John Baluka" userId="7068dd7de4bf55dd" providerId="LiveId" clId="{8B678E5F-3205-415B-9A5D-EF98A99AC0EB}" dt="2024-09-22T23:53:19.103" v="1146" actId="18676"/>
        <pc:sldMkLst>
          <pc:docMk/>
          <pc:sldMk cId="3458842806" sldId="731"/>
        </pc:sldMkLst>
      </pc:sldChg>
      <pc:sldChg chg="modSp new del mod">
        <pc:chgData name="John Baluka" userId="7068dd7de4bf55dd" providerId="LiveId" clId="{8B678E5F-3205-415B-9A5D-EF98A99AC0EB}" dt="2024-09-23T00:06:43.415" v="1248" actId="18676"/>
        <pc:sldMkLst>
          <pc:docMk/>
          <pc:sldMk cId="1803388862" sldId="732"/>
        </pc:sldMkLst>
      </pc:sldChg>
      <pc:sldChg chg="modSp new del mod">
        <pc:chgData name="John Baluka" userId="7068dd7de4bf55dd" providerId="LiveId" clId="{8B678E5F-3205-415B-9A5D-EF98A99AC0EB}" dt="2024-09-22T23:53:12.842" v="1145" actId="18676"/>
        <pc:sldMkLst>
          <pc:docMk/>
          <pc:sldMk cId="2045252638" sldId="733"/>
        </pc:sldMkLst>
      </pc:sldChg>
      <pc:sldChg chg="modSp new del mod">
        <pc:chgData name="John Baluka" userId="7068dd7de4bf55dd" providerId="LiveId" clId="{8B678E5F-3205-415B-9A5D-EF98A99AC0EB}" dt="2024-09-23T00:06:39.553" v="1247" actId="18676"/>
        <pc:sldMkLst>
          <pc:docMk/>
          <pc:sldMk cId="1847631566" sldId="734"/>
        </pc:sldMkLst>
      </pc:sldChg>
      <pc:sldChg chg="addSp delSp modSp new del mod modClrScheme modShow chgLayout">
        <pc:chgData name="John Baluka" userId="7068dd7de4bf55dd" providerId="LiveId" clId="{8B678E5F-3205-415B-9A5D-EF98A99AC0EB}" dt="2024-09-23T00:15:41.982" v="1337" actId="47"/>
        <pc:sldMkLst>
          <pc:docMk/>
          <pc:sldMk cId="2906154791" sldId="735"/>
        </pc:sldMkLst>
      </pc:sldChg>
      <pc:sldChg chg="add del">
        <pc:chgData name="John Baluka" userId="7068dd7de4bf55dd" providerId="LiveId" clId="{8B678E5F-3205-415B-9A5D-EF98A99AC0EB}" dt="2024-08-26T14:19:06.518" v="84" actId="47"/>
        <pc:sldMkLst>
          <pc:docMk/>
          <pc:sldMk cId="3788461746" sldId="735"/>
        </pc:sldMkLst>
      </pc:sldChg>
      <pc:sldChg chg="addSp delSp modSp add del mod ord modTransition delAnim modAnim modNotesTx">
        <pc:chgData name="John Baluka" userId="7068dd7de4bf55dd" providerId="LiveId" clId="{8B678E5F-3205-415B-9A5D-EF98A99AC0EB}" dt="2024-11-09T16:10:32.731" v="3324" actId="47"/>
        <pc:sldMkLst>
          <pc:docMk/>
          <pc:sldMk cId="3801817559" sldId="846"/>
        </pc:sldMkLst>
      </pc:sldChg>
      <pc:sldChg chg="addSp modSp add del mod modTransition modAnim modNotesTx">
        <pc:chgData name="John Baluka" userId="7068dd7de4bf55dd" providerId="LiveId" clId="{8B678E5F-3205-415B-9A5D-EF98A99AC0EB}" dt="2024-11-09T15:35:25.711" v="3050" actId="47"/>
        <pc:sldMkLst>
          <pc:docMk/>
          <pc:sldMk cId="1887571529" sldId="852"/>
        </pc:sldMkLst>
      </pc:sldChg>
      <pc:sldChg chg="addSp delSp modSp add del mod ord modTransition modAnim modNotesTx">
        <pc:chgData name="John Baluka" userId="7068dd7de4bf55dd" providerId="LiveId" clId="{8B678E5F-3205-415B-9A5D-EF98A99AC0EB}" dt="2025-01-18T12:21:45.235" v="7336"/>
        <pc:sldMkLst>
          <pc:docMk/>
          <pc:sldMk cId="1948209501" sldId="859"/>
        </pc:sldMkLst>
        <pc:spChg chg="mod">
          <ac:chgData name="John Baluka" userId="7068dd7de4bf55dd" providerId="LiveId" clId="{8B678E5F-3205-415B-9A5D-EF98A99AC0EB}" dt="2024-12-31T16:15:18.830" v="6433"/>
          <ac:spMkLst>
            <pc:docMk/>
            <pc:sldMk cId="1948209501" sldId="859"/>
            <ac:spMk id="2" creationId="{08E0EA74-660C-F1E7-9549-EF476072E5ED}"/>
          </ac:spMkLst>
        </pc:spChg>
        <pc:spChg chg="mod">
          <ac:chgData name="John Baluka" userId="7068dd7de4bf55dd" providerId="LiveId" clId="{8B678E5F-3205-415B-9A5D-EF98A99AC0EB}" dt="2024-12-31T16:15:18.832" v="6434"/>
          <ac:spMkLst>
            <pc:docMk/>
            <pc:sldMk cId="1948209501" sldId="859"/>
            <ac:spMk id="3" creationId="{93EFC8C2-816B-B012-B76B-9AB2EF74018B}"/>
          </ac:spMkLst>
        </pc:spChg>
        <pc:spChg chg="add mod">
          <ac:chgData name="John Baluka" userId="7068dd7de4bf55dd" providerId="LiveId" clId="{8B678E5F-3205-415B-9A5D-EF98A99AC0EB}" dt="2025-01-18T12:21:18.617" v="7333" actId="1076"/>
          <ac:spMkLst>
            <pc:docMk/>
            <pc:sldMk cId="1948209501" sldId="859"/>
            <ac:spMk id="4" creationId="{E89F9F18-DE46-78F4-CFE1-9A10533596BC}"/>
          </ac:spMkLst>
        </pc:spChg>
        <pc:spChg chg="mod">
          <ac:chgData name="John Baluka" userId="7068dd7de4bf55dd" providerId="LiveId" clId="{8B678E5F-3205-415B-9A5D-EF98A99AC0EB}" dt="2024-12-31T16:15:18.836" v="6435"/>
          <ac:spMkLst>
            <pc:docMk/>
            <pc:sldMk cId="1948209501" sldId="859"/>
            <ac:spMk id="5" creationId="{FED6AE88-1522-182A-A339-ED9DDD143740}"/>
          </ac:spMkLst>
        </pc:spChg>
        <pc:spChg chg="add mod">
          <ac:chgData name="John Baluka" userId="7068dd7de4bf55dd" providerId="LiveId" clId="{8B678E5F-3205-415B-9A5D-EF98A99AC0EB}" dt="2025-01-18T12:21:12.358" v="7332" actId="1076"/>
          <ac:spMkLst>
            <pc:docMk/>
            <pc:sldMk cId="1948209501" sldId="859"/>
            <ac:spMk id="10" creationId="{06CCCC19-93A4-D972-F98E-4F759A5DED2E}"/>
          </ac:spMkLst>
        </pc:spChg>
        <pc:spChg chg="add mod">
          <ac:chgData name="John Baluka" userId="7068dd7de4bf55dd" providerId="LiveId" clId="{8B678E5F-3205-415B-9A5D-EF98A99AC0EB}" dt="2025-01-18T12:21:22.410" v="7334" actId="1076"/>
          <ac:spMkLst>
            <pc:docMk/>
            <pc:sldMk cId="1948209501" sldId="859"/>
            <ac:spMk id="11" creationId="{07DD363B-BE42-3405-FEA6-16C8CD9DEAD5}"/>
          </ac:spMkLst>
        </pc:spChg>
        <pc:spChg chg="mod topLvl">
          <ac:chgData name="John Baluka" userId="7068dd7de4bf55dd" providerId="LiveId" clId="{8B678E5F-3205-415B-9A5D-EF98A99AC0EB}" dt="2025-01-02T00:01:45.584" v="6756" actId="20577"/>
          <ac:spMkLst>
            <pc:docMk/>
            <pc:sldMk cId="1948209501" sldId="859"/>
            <ac:spMk id="13" creationId="{A2CA8971-563D-57A6-9E33-2BEC4B4A457E}"/>
          </ac:spMkLst>
        </pc:spChg>
        <pc:spChg chg="mod topLvl">
          <ac:chgData name="John Baluka" userId="7068dd7de4bf55dd" providerId="LiveId" clId="{8B678E5F-3205-415B-9A5D-EF98A99AC0EB}" dt="2024-12-09T18:48:19.540" v="5878" actId="20577"/>
          <ac:spMkLst>
            <pc:docMk/>
            <pc:sldMk cId="1948209501" sldId="859"/>
            <ac:spMk id="14" creationId="{77BC925A-9DB6-44EE-450C-DD83C8FD63AF}"/>
          </ac:spMkLst>
        </pc:spChg>
        <pc:spChg chg="mod topLvl">
          <ac:chgData name="John Baluka" userId="7068dd7de4bf55dd" providerId="LiveId" clId="{8B678E5F-3205-415B-9A5D-EF98A99AC0EB}" dt="2024-12-08T14:25:52.533" v="5802" actId="14100"/>
          <ac:spMkLst>
            <pc:docMk/>
            <pc:sldMk cId="1948209501" sldId="859"/>
            <ac:spMk id="15" creationId="{39778D51-D229-56DC-095E-3DA028E52072}"/>
          </ac:spMkLst>
        </pc:spChg>
        <pc:spChg chg="mod topLvl">
          <ac:chgData name="John Baluka" userId="7068dd7de4bf55dd" providerId="LiveId" clId="{8B678E5F-3205-415B-9A5D-EF98A99AC0EB}" dt="2024-12-08T14:25:52.533" v="5802" actId="14100"/>
          <ac:spMkLst>
            <pc:docMk/>
            <pc:sldMk cId="1948209501" sldId="859"/>
            <ac:spMk id="16" creationId="{14ED5C52-6D46-2430-59AF-A4F8FDD3642E}"/>
          </ac:spMkLst>
        </pc:spChg>
        <pc:spChg chg="mod topLvl">
          <ac:chgData name="John Baluka" userId="7068dd7de4bf55dd" providerId="LiveId" clId="{8B678E5F-3205-415B-9A5D-EF98A99AC0EB}" dt="2024-12-09T13:18:51.424" v="5871" actId="1076"/>
          <ac:spMkLst>
            <pc:docMk/>
            <pc:sldMk cId="1948209501" sldId="859"/>
            <ac:spMk id="17" creationId="{600105D3-D10A-D1F8-D8E2-A11BE891D7F3}"/>
          </ac:spMkLst>
        </pc:spChg>
        <pc:spChg chg="mod topLvl">
          <ac:chgData name="John Baluka" userId="7068dd7de4bf55dd" providerId="LiveId" clId="{8B678E5F-3205-415B-9A5D-EF98A99AC0EB}" dt="2024-12-09T13:18:43.003" v="5870" actId="1076"/>
          <ac:spMkLst>
            <pc:docMk/>
            <pc:sldMk cId="1948209501" sldId="859"/>
            <ac:spMk id="18" creationId="{C4685D4F-CA23-2842-BE47-19D93DEAF903}"/>
          </ac:spMkLst>
        </pc:spChg>
      </pc:sldChg>
      <pc:sldChg chg="addSp delSp modSp new mod modTransition modClrScheme delAnim modAnim chgLayout modNotesTx">
        <pc:chgData name="John Baluka" userId="7068dd7de4bf55dd" providerId="LiveId" clId="{8B678E5F-3205-415B-9A5D-EF98A99AC0EB}" dt="2025-01-04T16:49:22.229" v="7275" actId="962"/>
        <pc:sldMkLst>
          <pc:docMk/>
          <pc:sldMk cId="623836634" sldId="860"/>
        </pc:sldMkLst>
        <pc:spChg chg="add mod ord modVis">
          <ac:chgData name="John Baluka" userId="7068dd7de4bf55dd" providerId="LiveId" clId="{8B678E5F-3205-415B-9A5D-EF98A99AC0EB}" dt="2024-12-08T14:21:41.556" v="5732" actId="6264"/>
          <ac:spMkLst>
            <pc:docMk/>
            <pc:sldMk cId="623836634" sldId="860"/>
            <ac:spMk id="5" creationId="{E3293B26-2E0E-77F8-390F-72519693D375}"/>
          </ac:spMkLst>
        </pc:spChg>
        <pc:spChg chg="add mod ord">
          <ac:chgData name="John Baluka" userId="7068dd7de4bf55dd" providerId="LiveId" clId="{8B678E5F-3205-415B-9A5D-EF98A99AC0EB}" dt="2024-12-31T16:15:18.781" v="6416"/>
          <ac:spMkLst>
            <pc:docMk/>
            <pc:sldMk cId="623836634" sldId="860"/>
            <ac:spMk id="9" creationId="{B1939221-E28F-AA6C-8E55-F3560A84CB42}"/>
          </ac:spMkLst>
        </pc:spChg>
        <pc:spChg chg="add mod ord">
          <ac:chgData name="John Baluka" userId="7068dd7de4bf55dd" providerId="LiveId" clId="{8B678E5F-3205-415B-9A5D-EF98A99AC0EB}" dt="2024-12-31T16:15:18.783" v="6417"/>
          <ac:spMkLst>
            <pc:docMk/>
            <pc:sldMk cId="623836634" sldId="860"/>
            <ac:spMk id="11" creationId="{349C8B73-BA5E-C1CA-119F-0ED14AEC5630}"/>
          </ac:spMkLst>
        </pc:spChg>
      </pc:sldChg>
      <pc:sldChg chg="addSp delSp modSp add del mod modTransition delAnim modAnim modNotesTx">
        <pc:chgData name="John Baluka" userId="7068dd7de4bf55dd" providerId="LiveId" clId="{8B678E5F-3205-415B-9A5D-EF98A99AC0EB}" dt="2024-11-09T19:35:45.948" v="3856" actId="47"/>
        <pc:sldMkLst>
          <pc:docMk/>
          <pc:sldMk cId="627792952" sldId="861"/>
        </pc:sldMkLst>
      </pc:sldChg>
      <pc:sldChg chg="modSp new del mod modShow">
        <pc:chgData name="John Baluka" userId="7068dd7de4bf55dd" providerId="LiveId" clId="{8B678E5F-3205-415B-9A5D-EF98A99AC0EB}" dt="2024-09-28T23:49:02.548" v="2312" actId="47"/>
        <pc:sldMkLst>
          <pc:docMk/>
          <pc:sldMk cId="615581909" sldId="862"/>
        </pc:sldMkLst>
      </pc:sldChg>
      <pc:sldChg chg="delSp modSp add del mod ord modTransition modAnim modShow modNotesTx">
        <pc:chgData name="John Baluka" userId="7068dd7de4bf55dd" providerId="LiveId" clId="{8B678E5F-3205-415B-9A5D-EF98A99AC0EB}" dt="2024-11-17T13:45:58.421" v="4252" actId="47"/>
        <pc:sldMkLst>
          <pc:docMk/>
          <pc:sldMk cId="1539311223" sldId="862"/>
        </pc:sldMkLst>
      </pc:sldChg>
      <pc:sldChg chg="addSp delSp modSp new del mod modClrScheme chgLayout">
        <pc:chgData name="John Baluka" userId="7068dd7de4bf55dd" providerId="LiveId" clId="{8B678E5F-3205-415B-9A5D-EF98A99AC0EB}" dt="2024-09-27T19:42:02.165" v="2186" actId="47"/>
        <pc:sldMkLst>
          <pc:docMk/>
          <pc:sldMk cId="1906293884" sldId="863"/>
        </pc:sldMkLst>
      </pc:sldChg>
      <pc:sldChg chg="addSp delSp modSp new mod modTransition delAnim modAnim modNotesTx">
        <pc:chgData name="John Baluka" userId="7068dd7de4bf55dd" providerId="LiveId" clId="{8B678E5F-3205-415B-9A5D-EF98A99AC0EB}" dt="2025-01-05T14:45:29.096" v="7280" actId="478"/>
        <pc:sldMkLst>
          <pc:docMk/>
          <pc:sldMk cId="2738592241" sldId="863"/>
        </pc:sldMkLst>
        <pc:spChg chg="mod">
          <ac:chgData name="John Baluka" userId="7068dd7de4bf55dd" providerId="LiveId" clId="{8B678E5F-3205-415B-9A5D-EF98A99AC0EB}" dt="2025-01-04T16:27:47.462" v="7249" actId="20577"/>
          <ac:spMkLst>
            <pc:docMk/>
            <pc:sldMk cId="2738592241" sldId="863"/>
            <ac:spMk id="2" creationId="{55B60615-4321-D77A-2A6F-AD942965646B}"/>
          </ac:spMkLst>
        </pc:spChg>
        <pc:spChg chg="mod">
          <ac:chgData name="John Baluka" userId="7068dd7de4bf55dd" providerId="LiveId" clId="{8B678E5F-3205-415B-9A5D-EF98A99AC0EB}" dt="2024-12-31T16:15:18.791" v="6420"/>
          <ac:spMkLst>
            <pc:docMk/>
            <pc:sldMk cId="2738592241" sldId="863"/>
            <ac:spMk id="4" creationId="{8AF3872E-F004-608A-BB44-C8A2C69A7697}"/>
          </ac:spMkLst>
        </pc:spChg>
        <pc:spChg chg="mod">
          <ac:chgData name="John Baluka" userId="7068dd7de4bf55dd" providerId="LiveId" clId="{8B678E5F-3205-415B-9A5D-EF98A99AC0EB}" dt="2024-12-31T16:15:18.795" v="6421"/>
          <ac:spMkLst>
            <pc:docMk/>
            <pc:sldMk cId="2738592241" sldId="863"/>
            <ac:spMk id="5" creationId="{692D3913-0F39-C525-9C36-34D94C769147}"/>
          </ac:spMkLst>
        </pc:spChg>
      </pc:sldChg>
      <pc:sldChg chg="addSp delSp modSp new mod ord modTransition delAnim modAnim modNotesTx">
        <pc:chgData name="John Baluka" userId="7068dd7de4bf55dd" providerId="LiveId" clId="{8B678E5F-3205-415B-9A5D-EF98A99AC0EB}" dt="2025-01-04T16:49:39.981" v="7277" actId="962"/>
        <pc:sldMkLst>
          <pc:docMk/>
          <pc:sldMk cId="496482172" sldId="864"/>
        </pc:sldMkLst>
        <pc:spChg chg="mod modVis">
          <ac:chgData name="John Baluka" userId="7068dd7de4bf55dd" providerId="LiveId" clId="{8B678E5F-3205-415B-9A5D-EF98A99AC0EB}" dt="2025-01-02T00:20:05.005" v="7000" actId="20577"/>
          <ac:spMkLst>
            <pc:docMk/>
            <pc:sldMk cId="496482172" sldId="864"/>
            <ac:spMk id="2" creationId="{0132788E-68DB-D334-DD9C-7FF0C05113D9}"/>
          </ac:spMkLst>
        </pc:spChg>
        <pc:spChg chg="mod">
          <ac:chgData name="John Baluka" userId="7068dd7de4bf55dd" providerId="LiveId" clId="{8B678E5F-3205-415B-9A5D-EF98A99AC0EB}" dt="2024-12-31T16:15:18.803" v="6424"/>
          <ac:spMkLst>
            <pc:docMk/>
            <pc:sldMk cId="496482172" sldId="864"/>
            <ac:spMk id="4" creationId="{7ED83DE2-5657-4BD4-B59D-2CF2A64C580E}"/>
          </ac:spMkLst>
        </pc:spChg>
        <pc:spChg chg="mod">
          <ac:chgData name="John Baluka" userId="7068dd7de4bf55dd" providerId="LiveId" clId="{8B678E5F-3205-415B-9A5D-EF98A99AC0EB}" dt="2024-12-31T16:15:18.805" v="6425"/>
          <ac:spMkLst>
            <pc:docMk/>
            <pc:sldMk cId="496482172" sldId="864"/>
            <ac:spMk id="5" creationId="{4A6C6505-2BC4-F5DB-045D-B4259C606473}"/>
          </ac:spMkLst>
        </pc:spChg>
        <pc:spChg chg="mod">
          <ac:chgData name="John Baluka" userId="7068dd7de4bf55dd" providerId="LiveId" clId="{8B678E5F-3205-415B-9A5D-EF98A99AC0EB}" dt="2024-12-10T12:45:03.478" v="5937" actId="1038"/>
          <ac:spMkLst>
            <pc:docMk/>
            <pc:sldMk cId="496482172" sldId="864"/>
            <ac:spMk id="6" creationId="{C3BC6355-6F9C-15EF-1744-845B4A600C19}"/>
          </ac:spMkLst>
        </pc:spChg>
      </pc:sldChg>
      <pc:sldChg chg="addSp delSp modSp new mod modTransition modAnim">
        <pc:chgData name="John Baluka" userId="7068dd7de4bf55dd" providerId="LiveId" clId="{8B678E5F-3205-415B-9A5D-EF98A99AC0EB}" dt="2024-11-25T00:11:51.414" v="4999" actId="208"/>
        <pc:sldMkLst>
          <pc:docMk/>
          <pc:sldMk cId="284217319" sldId="865"/>
        </pc:sldMkLst>
      </pc:sldChg>
      <pc:sldChg chg="addSp delSp modSp new mod modTransition delAnim modAnim modNotesTx">
        <pc:chgData name="John Baluka" userId="7068dd7de4bf55dd" providerId="LiveId" clId="{8B678E5F-3205-415B-9A5D-EF98A99AC0EB}" dt="2025-01-04T16:49:51.837" v="7279" actId="962"/>
        <pc:sldMkLst>
          <pc:docMk/>
          <pc:sldMk cId="1113126988" sldId="866"/>
        </pc:sldMkLst>
        <pc:spChg chg="mod">
          <ac:chgData name="John Baluka" userId="7068dd7de4bf55dd" providerId="LiveId" clId="{8B678E5F-3205-415B-9A5D-EF98A99AC0EB}" dt="2024-12-31T16:15:18.818" v="6429"/>
          <ac:spMkLst>
            <pc:docMk/>
            <pc:sldMk cId="1113126988" sldId="866"/>
            <ac:spMk id="2" creationId="{503BE458-2B2E-6B96-931E-C924E4F52390}"/>
          </ac:spMkLst>
        </pc:spChg>
        <pc:spChg chg="mod modVis">
          <ac:chgData name="John Baluka" userId="7068dd7de4bf55dd" providerId="LiveId" clId="{8B678E5F-3205-415B-9A5D-EF98A99AC0EB}" dt="2024-12-31T16:15:18.820" v="6430"/>
          <ac:spMkLst>
            <pc:docMk/>
            <pc:sldMk cId="1113126988" sldId="866"/>
            <ac:spMk id="3" creationId="{8C0E1E7A-6E13-BF97-334C-1FF54399A38F}"/>
          </ac:spMkLst>
        </pc:spChg>
        <pc:spChg chg="mod">
          <ac:chgData name="John Baluka" userId="7068dd7de4bf55dd" providerId="LiveId" clId="{8B678E5F-3205-415B-9A5D-EF98A99AC0EB}" dt="2024-12-31T16:15:18.823" v="6431"/>
          <ac:spMkLst>
            <pc:docMk/>
            <pc:sldMk cId="1113126988" sldId="866"/>
            <ac:spMk id="4" creationId="{7F8ED9CE-7F4A-80F8-6011-A7F813F2F3A6}"/>
          </ac:spMkLst>
        </pc:spChg>
        <pc:spChg chg="mod">
          <ac:chgData name="John Baluka" userId="7068dd7de4bf55dd" providerId="LiveId" clId="{8B678E5F-3205-415B-9A5D-EF98A99AC0EB}" dt="2024-12-31T16:15:18.827" v="6432"/>
          <ac:spMkLst>
            <pc:docMk/>
            <pc:sldMk cId="1113126988" sldId="866"/>
            <ac:spMk id="5" creationId="{C13A5AAE-D67E-DE20-0515-5B51BEAD5988}"/>
          </ac:spMkLst>
        </pc:spChg>
      </pc:sldChg>
      <pc:sldChg chg="addSp delSp modSp add mod modTransition setFolMasterAnim delAnim modAnim modNotesTx">
        <pc:chgData name="John Baluka" userId="7068dd7de4bf55dd" providerId="LiveId" clId="{8B678E5F-3205-415B-9A5D-EF98A99AC0EB}" dt="2025-01-04T16:49:46.189" v="7278" actId="962"/>
        <pc:sldMkLst>
          <pc:docMk/>
          <pc:sldMk cId="716199274" sldId="867"/>
        </pc:sldMkLst>
        <pc:spChg chg="mod">
          <ac:chgData name="John Baluka" userId="7068dd7de4bf55dd" providerId="LiveId" clId="{8B678E5F-3205-415B-9A5D-EF98A99AC0EB}" dt="2024-12-31T16:15:18.810" v="6426"/>
          <ac:spMkLst>
            <pc:docMk/>
            <pc:sldMk cId="716199274" sldId="867"/>
            <ac:spMk id="2" creationId="{37663477-AF91-DC18-FA50-58E67E484F47}"/>
          </ac:spMkLst>
        </pc:spChg>
        <pc:spChg chg="mod">
          <ac:chgData name="John Baluka" userId="7068dd7de4bf55dd" providerId="LiveId" clId="{8B678E5F-3205-415B-9A5D-EF98A99AC0EB}" dt="2024-12-10T12:45:16.147" v="6006" actId="1038"/>
          <ac:spMkLst>
            <pc:docMk/>
            <pc:sldMk cId="716199274" sldId="867"/>
            <ac:spMk id="3" creationId="{493C1A01-192F-1CBB-E178-878AF8E160A7}"/>
          </ac:spMkLst>
        </pc:spChg>
        <pc:spChg chg="mod">
          <ac:chgData name="John Baluka" userId="7068dd7de4bf55dd" providerId="LiveId" clId="{8B678E5F-3205-415B-9A5D-EF98A99AC0EB}" dt="2024-12-31T16:15:18.813" v="6427"/>
          <ac:spMkLst>
            <pc:docMk/>
            <pc:sldMk cId="716199274" sldId="867"/>
            <ac:spMk id="4" creationId="{E5C70E86-F49F-0848-8EEB-94E757776E32}"/>
          </ac:spMkLst>
        </pc:spChg>
        <pc:spChg chg="mod">
          <ac:chgData name="John Baluka" userId="7068dd7de4bf55dd" providerId="LiveId" clId="{8B678E5F-3205-415B-9A5D-EF98A99AC0EB}" dt="2024-12-31T16:15:18.816" v="6428"/>
          <ac:spMkLst>
            <pc:docMk/>
            <pc:sldMk cId="716199274" sldId="867"/>
            <ac:spMk id="5" creationId="{68A69A30-1E20-D381-7465-537556CF2F9A}"/>
          </ac:spMkLst>
        </pc:spChg>
      </pc:sldChg>
      <pc:sldChg chg="add del mod ord modShow modNotesTx">
        <pc:chgData name="John Baluka" userId="7068dd7de4bf55dd" providerId="LiveId" clId="{8B678E5F-3205-415B-9A5D-EF98A99AC0EB}" dt="2024-12-10T14:59:39.265" v="6321" actId="47"/>
        <pc:sldMkLst>
          <pc:docMk/>
          <pc:sldMk cId="3949381784" sldId="868"/>
        </pc:sldMkLst>
      </pc:sldChg>
      <pc:sldMasterChg chg="modSldLayout">
        <pc:chgData name="John Baluka" userId="7068dd7de4bf55dd" providerId="LiveId" clId="{8B678E5F-3205-415B-9A5D-EF98A99AC0EB}" dt="2025-01-05T20:45:24.679" v="7281" actId="3626"/>
        <pc:sldMasterMkLst>
          <pc:docMk/>
          <pc:sldMasterMk cId="1202479639" sldId="2147483677"/>
        </pc:sldMasterMkLst>
        <pc:sldLayoutChg chg="addSp delSp modSp mod">
          <pc:chgData name="John Baluka" userId="7068dd7de4bf55dd" providerId="LiveId" clId="{8B678E5F-3205-415B-9A5D-EF98A99AC0EB}" dt="2024-09-27T19:55:46.906" v="2209" actId="14429"/>
          <pc:sldLayoutMkLst>
            <pc:docMk/>
            <pc:sldMasterMk cId="1202479639" sldId="2147483677"/>
            <pc:sldLayoutMk cId="1807476475" sldId="2147483670"/>
          </pc:sldLayoutMkLst>
        </pc:sldLayoutChg>
        <pc:sldLayoutChg chg="addSp delSp modSp mod">
          <pc:chgData name="John Baluka" userId="7068dd7de4bf55dd" providerId="LiveId" clId="{8B678E5F-3205-415B-9A5D-EF98A99AC0EB}" dt="2024-09-27T19:56:48.920" v="2211" actId="478"/>
          <pc:sldLayoutMkLst>
            <pc:docMk/>
            <pc:sldMasterMk cId="1202479639" sldId="2147483677"/>
            <pc:sldLayoutMk cId="3918939478" sldId="2147483672"/>
          </pc:sldLayoutMkLst>
        </pc:sldLayoutChg>
        <pc:sldLayoutChg chg="addSp delSp modSp mod">
          <pc:chgData name="John Baluka" userId="7068dd7de4bf55dd" providerId="LiveId" clId="{8B678E5F-3205-415B-9A5D-EF98A99AC0EB}" dt="2024-09-15T12:46:15.095" v="272"/>
          <pc:sldLayoutMkLst>
            <pc:docMk/>
            <pc:sldMasterMk cId="1202479639" sldId="2147483677"/>
            <pc:sldLayoutMk cId="3341104705" sldId="2147483673"/>
          </pc:sldLayoutMkLst>
        </pc:sldLayoutChg>
        <pc:sldLayoutChg chg="addSp delSp modSp mod modAnim">
          <pc:chgData name="John Baluka" userId="7068dd7de4bf55dd" providerId="LiveId" clId="{8B678E5F-3205-415B-9A5D-EF98A99AC0EB}" dt="2025-01-05T20:45:24.679" v="7281" actId="3626"/>
          <pc:sldLayoutMkLst>
            <pc:docMk/>
            <pc:sldMasterMk cId="1202479639" sldId="2147483677"/>
            <pc:sldLayoutMk cId="19805963" sldId="2147483674"/>
          </pc:sldLayoutMkLst>
          <pc:spChg chg="mod">
            <ac:chgData name="John Baluka" userId="7068dd7de4bf55dd" providerId="LiveId" clId="{8B678E5F-3205-415B-9A5D-EF98A99AC0EB}" dt="2025-01-04T16:45:34.873" v="7265"/>
            <ac:spMkLst>
              <pc:docMk/>
              <pc:sldMasterMk cId="1202479639" sldId="2147483677"/>
              <pc:sldLayoutMk cId="19805963" sldId="2147483674"/>
              <ac:spMk id="3" creationId="{4ED32A9E-7BED-724F-4EA7-5839DDCD0305}"/>
            </ac:spMkLst>
          </pc:spChg>
          <pc:spChg chg="mod">
            <ac:chgData name="John Baluka" userId="7068dd7de4bf55dd" providerId="LiveId" clId="{8B678E5F-3205-415B-9A5D-EF98A99AC0EB}" dt="2025-01-04T16:45:58.565" v="7267"/>
            <ac:spMkLst>
              <pc:docMk/>
              <pc:sldMasterMk cId="1202479639" sldId="2147483677"/>
              <pc:sldLayoutMk cId="19805963" sldId="2147483674"/>
              <ac:spMk id="4" creationId="{9EC1935E-8384-762B-E303-D8A34E5475D9}"/>
            </ac:spMkLst>
          </pc:spChg>
          <pc:spChg chg="mod">
            <ac:chgData name="John Baluka" userId="7068dd7de4bf55dd" providerId="LiveId" clId="{8B678E5F-3205-415B-9A5D-EF98A99AC0EB}" dt="2025-01-04T16:46:10.757" v="7269"/>
            <ac:spMkLst>
              <pc:docMk/>
              <pc:sldMasterMk cId="1202479639" sldId="2147483677"/>
              <pc:sldLayoutMk cId="19805963" sldId="2147483674"/>
              <ac:spMk id="5" creationId="{DC5F23B7-FF51-FD3B-88ED-3388279DC957}"/>
            </ac:spMkLst>
          </pc:spChg>
          <pc:spChg chg="mod">
            <ac:chgData name="John Baluka" userId="7068dd7de4bf55dd" providerId="LiveId" clId="{8B678E5F-3205-415B-9A5D-EF98A99AC0EB}" dt="2025-01-04T16:46:27.209" v="7271"/>
            <ac:spMkLst>
              <pc:docMk/>
              <pc:sldMasterMk cId="1202479639" sldId="2147483677"/>
              <pc:sldLayoutMk cId="19805963" sldId="2147483674"/>
              <ac:spMk id="6" creationId="{EFED535E-D63F-4CE2-1130-0C5F6B7F0463}"/>
            </ac:spMkLst>
          </pc:spChg>
          <pc:spChg chg="mod">
            <ac:chgData name="John Baluka" userId="7068dd7de4bf55dd" providerId="LiveId" clId="{8B678E5F-3205-415B-9A5D-EF98A99AC0EB}" dt="2025-01-04T16:46:39.603" v="7273"/>
            <ac:spMkLst>
              <pc:docMk/>
              <pc:sldMasterMk cId="1202479639" sldId="2147483677"/>
              <pc:sldLayoutMk cId="19805963" sldId="2147483674"/>
              <ac:spMk id="7" creationId="{40D1D5F7-9B27-1865-6A40-6813C1ABD8F2}"/>
            </ac:spMkLst>
          </pc:spChg>
          <pc:spChg chg="mod">
            <ac:chgData name="John Baluka" userId="7068dd7de4bf55dd" providerId="LiveId" clId="{8B678E5F-3205-415B-9A5D-EF98A99AC0EB}" dt="2025-01-05T20:45:24.679" v="7281" actId="3626"/>
            <ac:spMkLst>
              <pc:docMk/>
              <pc:sldMasterMk cId="1202479639" sldId="2147483677"/>
              <pc:sldLayoutMk cId="19805963" sldId="2147483674"/>
              <ac:spMk id="8" creationId="{293C4B53-6DC3-AAC2-000D-73FDD7FFD076}"/>
            </ac:spMkLst>
          </pc:spChg>
          <pc:spChg chg="add mod modVis">
            <ac:chgData name="John Baluka" userId="7068dd7de4bf55dd" providerId="LiveId" clId="{8B678E5F-3205-415B-9A5D-EF98A99AC0EB}" dt="2024-12-08T14:22:33.468" v="5772" actId="1035"/>
            <ac:spMkLst>
              <pc:docMk/>
              <pc:sldMasterMk cId="1202479639" sldId="2147483677"/>
              <pc:sldLayoutMk cId="19805963" sldId="2147483674"/>
              <ac:spMk id="14" creationId="{2FC61A78-F99B-DFC7-D358-78649FCACF4D}"/>
            </ac:spMkLst>
          </pc:spChg>
          <pc:spChg chg="add mod">
            <ac:chgData name="John Baluka" userId="7068dd7de4bf55dd" providerId="LiveId" clId="{8B678E5F-3205-415B-9A5D-EF98A99AC0EB}" dt="2025-01-04T16:34:06.110" v="7263" actId="962"/>
            <ac:spMkLst>
              <pc:docMk/>
              <pc:sldMasterMk cId="1202479639" sldId="2147483677"/>
              <pc:sldLayoutMk cId="19805963" sldId="2147483674"/>
              <ac:spMk id="30" creationId="{49AE4AD1-471A-B867-CCF2-28D3A1FEB27B}"/>
            </ac:spMkLst>
          </pc:spChg>
          <pc:spChg chg="add mod">
            <ac:chgData name="John Baluka" userId="7068dd7de4bf55dd" providerId="LiveId" clId="{8B678E5F-3205-415B-9A5D-EF98A99AC0EB}" dt="2025-01-04T16:33:44.861" v="7262" actId="962"/>
            <ac:spMkLst>
              <pc:docMk/>
              <pc:sldMasterMk cId="1202479639" sldId="2147483677"/>
              <pc:sldLayoutMk cId="19805963" sldId="2147483674"/>
              <ac:spMk id="31" creationId="{ADC89931-5F38-9B5E-F338-7A8B9AA25C83}"/>
            </ac:spMkLst>
          </pc:spChg>
          <pc:picChg chg="mod">
            <ac:chgData name="John Baluka" userId="7068dd7de4bf55dd" providerId="LiveId" clId="{8B678E5F-3205-415B-9A5D-EF98A99AC0EB}" dt="2025-01-04T16:33:24.357" v="7260" actId="962"/>
            <ac:picMkLst>
              <pc:docMk/>
              <pc:sldMasterMk cId="1202479639" sldId="2147483677"/>
              <pc:sldLayoutMk cId="19805963" sldId="2147483674"/>
              <ac:picMk id="24" creationId="{830934DD-D55F-0ABC-40B3-0C54ACF85334}"/>
            </ac:picMkLst>
          </pc:picChg>
          <pc:picChg chg="mod">
            <ac:chgData name="John Baluka" userId="7068dd7de4bf55dd" providerId="LiveId" clId="{8B678E5F-3205-415B-9A5D-EF98A99AC0EB}" dt="2025-01-04T16:33:04.997" v="7258" actId="962"/>
            <ac:picMkLst>
              <pc:docMk/>
              <pc:sldMasterMk cId="1202479639" sldId="2147483677"/>
              <pc:sldLayoutMk cId="19805963" sldId="2147483674"/>
              <ac:picMk id="26" creationId="{F3776BA6-A264-D869-C5E9-003EE7D3FA42}"/>
            </ac:picMkLst>
          </pc:picChg>
          <pc:picChg chg="add mod modCrop">
            <ac:chgData name="John Baluka" userId="7068dd7de4bf55dd" providerId="LiveId" clId="{8B678E5F-3205-415B-9A5D-EF98A99AC0EB}" dt="2025-01-04T16:33:12.300" v="7259" actId="962"/>
            <ac:picMkLst>
              <pc:docMk/>
              <pc:sldMasterMk cId="1202479639" sldId="2147483677"/>
              <pc:sldLayoutMk cId="19805963" sldId="2147483674"/>
              <ac:picMk id="29" creationId="{A58712AD-1EE2-BE97-5300-B37AF23A992B}"/>
            </ac:picMkLst>
          </pc:picChg>
        </pc:sldLayoutChg>
        <pc:sldLayoutChg chg="addSp delSp modSp mod">
          <pc:chgData name="John Baluka" userId="7068dd7de4bf55dd" providerId="LiveId" clId="{8B678E5F-3205-415B-9A5D-EF98A99AC0EB}" dt="2024-09-15T12:49:10.109" v="277"/>
          <pc:sldLayoutMkLst>
            <pc:docMk/>
            <pc:sldMasterMk cId="1202479639" sldId="2147483677"/>
            <pc:sldLayoutMk cId="2736790733" sldId="2147483675"/>
          </pc:sldLayoutMkLst>
        </pc:sldLayoutChg>
        <pc:sldLayoutChg chg="addSp delSp modSp mod">
          <pc:chgData name="John Baluka" userId="7068dd7de4bf55dd" providerId="LiveId" clId="{8B678E5F-3205-415B-9A5D-EF98A99AC0EB}" dt="2024-09-15T12:49:52.676" v="279"/>
          <pc:sldLayoutMkLst>
            <pc:docMk/>
            <pc:sldMasterMk cId="1202479639" sldId="2147483677"/>
            <pc:sldLayoutMk cId="1636521071" sldId="2147483676"/>
          </pc:sldLayoutMkLst>
        </pc:sldLayoutChg>
        <pc:sldLayoutChg chg="addSp delSp modSp mod">
          <pc:chgData name="John Baluka" userId="7068dd7de4bf55dd" providerId="LiveId" clId="{8B678E5F-3205-415B-9A5D-EF98A99AC0EB}" dt="2024-09-27T19:58:29.630" v="2217" actId="478"/>
          <pc:sldLayoutMkLst>
            <pc:docMk/>
            <pc:sldMasterMk cId="1202479639" sldId="2147483677"/>
            <pc:sldLayoutMk cId="310198435" sldId="2147483692"/>
          </pc:sldLayoutMkLst>
        </pc:sldLayoutChg>
        <pc:sldLayoutChg chg="addSp delSp modSp mod">
          <pc:chgData name="John Baluka" userId="7068dd7de4bf55dd" providerId="LiveId" clId="{8B678E5F-3205-415B-9A5D-EF98A99AC0EB}" dt="2024-09-27T19:54:44.494" v="2208" actId="962"/>
          <pc:sldLayoutMkLst>
            <pc:docMk/>
            <pc:sldMasterMk cId="1202479639" sldId="2147483677"/>
            <pc:sldLayoutMk cId="4195976201" sldId="2147483693"/>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0DEFD3E-FCA1-4479-B938-D04F231374AB}" type="datetimeFigureOut">
              <a:rPr lang="en-US" smtClean="0"/>
              <a:t>2/16/2025</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577A8EC-4EE9-4C81-93E4-22A428457FE8}" type="slidenum">
              <a:rPr lang="en-US" smtClean="0"/>
              <a:t>‹#›</a:t>
            </a:fld>
            <a:endParaRPr lang="en-US"/>
          </a:p>
        </p:txBody>
      </p:sp>
    </p:spTree>
    <p:extLst>
      <p:ext uri="{BB962C8B-B14F-4D97-AF65-F5344CB8AC3E}">
        <p14:creationId xmlns:p14="http://schemas.microsoft.com/office/powerpoint/2010/main" val="303883359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22011FA-6714-46A1-9E0D-6743EEA4A590}" type="datetimeFigureOut">
              <a:rPr lang="en-US" smtClean="0"/>
              <a:t>2/15/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9786431-D1BB-4F6B-9525-D7C6D0E121EB}" type="slidenum">
              <a:rPr lang="en-US" smtClean="0"/>
              <a:t>‹#›</a:t>
            </a:fld>
            <a:endParaRPr lang="en-US"/>
          </a:p>
        </p:txBody>
      </p:sp>
    </p:spTree>
    <p:extLst>
      <p:ext uri="{BB962C8B-B14F-4D97-AF65-F5344CB8AC3E}">
        <p14:creationId xmlns:p14="http://schemas.microsoft.com/office/powerpoint/2010/main" val="22255910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www.slideshare.net/" TargetMode="External"/><Relationship Id="rId2" Type="http://schemas.openxmlformats.org/officeDocument/2006/relationships/slide" Target="../slides/slide1.xml"/><Relationship Id="rId1" Type="http://schemas.openxmlformats.org/officeDocument/2006/relationships/notesMaster" Target="../notesMasters/notesMaster1.xml"/><Relationship Id="rId6" Type="http://schemas.openxmlformats.org/officeDocument/2006/relationships/hyperlink" Target="https://vimeo.com/" TargetMode="External"/><Relationship Id="rId5" Type="http://schemas.openxmlformats.org/officeDocument/2006/relationships/hyperlink" Target="https://www.youtube.com/" TargetMode="External"/><Relationship Id="rId4" Type="http://schemas.openxmlformats.org/officeDocument/2006/relationships/hyperlink" Target="https://speakerdeck.com/"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Multimodal Slides can convert your PowerPoint content into a multimodal web page that one can read, listen to, or watch.</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Slide-based tools like Google Slides, Microsoft PowerPoint, and Apple’s Keynote already have some built-in ways to easily share your content.</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These slide-based tools can already be exported to a PDF file or to various image formats like JPEG or PNG.</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The PDF files, image files, or the PowerPoint file, itself, can be upload to a slide sharing site like </a:t>
            </a:r>
            <a:r>
              <a:rPr lang="en-US" sz="1800" u="sng" kern="100" dirty="0">
                <a:solidFill>
                  <a:srgbClr val="467886"/>
                </a:solidFill>
                <a:effectLst/>
                <a:latin typeface="Aptos" panose="020B0004020202020204" pitchFamily="34" charset="0"/>
                <a:ea typeface="Aptos" panose="020B0004020202020204" pitchFamily="34" charset="0"/>
                <a:cs typeface="Times New Roman" panose="02020603050405020304" pitchFamily="18" charset="0"/>
                <a:hlinkClick r:id="rId3"/>
              </a:rPr>
              <a:t>Slideshare.net</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or </a:t>
            </a:r>
            <a:r>
              <a:rPr lang="en-US" sz="1800" u="sng" kern="100" dirty="0">
                <a:solidFill>
                  <a:srgbClr val="467886"/>
                </a:solidFill>
                <a:effectLst/>
                <a:latin typeface="Aptos" panose="020B0004020202020204" pitchFamily="34" charset="0"/>
                <a:ea typeface="Aptos" panose="020B0004020202020204" pitchFamily="34" charset="0"/>
                <a:cs typeface="Times New Roman" panose="02020603050405020304" pitchFamily="18" charset="0"/>
                <a:hlinkClick r:id="rId4"/>
              </a:rPr>
              <a:t>SpeakerDeck.com</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One can also create a voice-over and export the presentation as a video file, or just an audio file.</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That file can then be easily shared by uploading it to </a:t>
            </a:r>
            <a:r>
              <a:rPr lang="en-US" sz="1800" u="sng" kern="100" dirty="0">
                <a:solidFill>
                  <a:srgbClr val="467886"/>
                </a:solidFill>
                <a:effectLst/>
                <a:latin typeface="Aptos" panose="020B0004020202020204" pitchFamily="34" charset="0"/>
                <a:ea typeface="Aptos" panose="020B0004020202020204" pitchFamily="34" charset="0"/>
                <a:cs typeface="Times New Roman" panose="02020603050405020304" pitchFamily="18" charset="0"/>
                <a:hlinkClick r:id="rId5"/>
              </a:rPr>
              <a:t>YouTube</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or </a:t>
            </a:r>
            <a:r>
              <a:rPr lang="en-US" sz="1800" u="sng" kern="100" dirty="0">
                <a:solidFill>
                  <a:srgbClr val="467886"/>
                </a:solidFill>
                <a:effectLst/>
                <a:latin typeface="Aptos" panose="020B0004020202020204" pitchFamily="34" charset="0"/>
                <a:ea typeface="Aptos" panose="020B0004020202020204" pitchFamily="34" charset="0"/>
                <a:cs typeface="Times New Roman" panose="02020603050405020304" pitchFamily="18" charset="0"/>
                <a:hlinkClick r:id="rId6"/>
              </a:rPr>
              <a:t>Vimeo</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For most Learning Management Systems, there are available processes to package a PowerPoint file into the LMS standard SCORM file format.</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Multimodal Slides can also produce a SCORM package, or the Multimodal Slides web page can simply be added to your website.</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Overall, you can do more with your slides.</a:t>
            </a:r>
          </a:p>
        </p:txBody>
      </p:sp>
      <p:sp>
        <p:nvSpPr>
          <p:cNvPr id="4" name="Slide Number Placeholder 3"/>
          <p:cNvSpPr>
            <a:spLocks noGrp="1"/>
          </p:cNvSpPr>
          <p:nvPr>
            <p:ph type="sldNum" sz="quarter" idx="5"/>
          </p:nvPr>
        </p:nvSpPr>
        <p:spPr/>
        <p:txBody>
          <a:bodyPr/>
          <a:lstStyle/>
          <a:p>
            <a:fld id="{19786431-D1BB-4F6B-9525-D7C6D0E121EB}" type="slidenum">
              <a:rPr lang="en-US" smtClean="0"/>
              <a:t>1</a:t>
            </a:fld>
            <a:endParaRPr lang="en-US"/>
          </a:p>
        </p:txBody>
      </p:sp>
    </p:spTree>
    <p:extLst>
      <p:ext uri="{BB962C8B-B14F-4D97-AF65-F5344CB8AC3E}">
        <p14:creationId xmlns:p14="http://schemas.microsoft.com/office/powerpoint/2010/main" val="10881045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For example, I simply used PowerPoint to create my website at JohnBaluka.com.  I also added external links and {CLICK}internal links to jump to certain slides within PowerPoint that are also carried over into the web page.</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Along with all the various visual elements, I added animations to where various elements would appear on a mouse click or keystroke.</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I used the “Notes” for transcript of the slide.  Within the transcript, I indicated with the word “CLICK” when an animation should be triggered.</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To manually record a voice-over, otherwise known as a “Narration”, I clicked on “Record”, which opened a recording window.</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Once the recording for each slide is complete, an audio clip appears in the lower right-hand corner.  One of the best features of recording a voice-over in PowerPoint is that the audio is saved per slide, therefore if you need to re-record something, you just re-record certain slides.</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Multimodal Slides has a Text-to-Speech feature.  For my website, I used ElevenLabs to clone my voice.  Multimodal Slides can use ElevenLabs to convert the transcript into an audio file along with making sure that the various animations are triggered at the right moment.</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And yes, this website, MultimodalSlides.com, I used the same approach, and my voice-over is a clone.</a:t>
            </a:r>
          </a:p>
        </p:txBody>
      </p:sp>
      <p:sp>
        <p:nvSpPr>
          <p:cNvPr id="4" name="Slide Number Placeholder 3"/>
          <p:cNvSpPr>
            <a:spLocks noGrp="1"/>
          </p:cNvSpPr>
          <p:nvPr>
            <p:ph type="sldNum" sz="quarter" idx="5"/>
          </p:nvPr>
        </p:nvSpPr>
        <p:spPr/>
        <p:txBody>
          <a:bodyPr/>
          <a:lstStyle/>
          <a:p>
            <a:fld id="{19786431-D1BB-4F6B-9525-D7C6D0E121EB}" type="slidenum">
              <a:rPr lang="en-US" smtClean="0"/>
              <a:t>2</a:t>
            </a:fld>
            <a:endParaRPr lang="en-US"/>
          </a:p>
        </p:txBody>
      </p:sp>
    </p:spTree>
    <p:extLst>
      <p:ext uri="{BB962C8B-B14F-4D97-AF65-F5344CB8AC3E}">
        <p14:creationId xmlns:p14="http://schemas.microsoft.com/office/powerpoint/2010/main" val="8054139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The process to convert a PowerPoint file to a Multimodal web page can be handled in four different ways.</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The first way is to install the Multimodal Slides application that is currently Windows only.  This application will simply put the results into a folder on your computer or Local Area Network.</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Or the second way, you could upload the PowerPoint file.  Once the Multimodal Slides server conversion process is complete, a download link will become available to get the results in a .zip file.</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 Or the third way, you could share your PowerPoint file over Dropbox, Google Drive, box.net, or OneDrive.  The Multimodal Slides server process can auto-detect a file change, or get manually triggered, to process the PowerPoint file.  The results will be placed in a new folder within your file sharing service.</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 Or the fourth way, you could utilize a shared file repository that has built-in version control like GitHub, Bitbucket, Azure DevOps, or SharePoint.  Like the third option, the Multimodal Slides server process can auto-detect a file change within the file repository or get manually triggered to process the PowerPoint file.  The results will be placed in a new folder within your file repository.</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The results of the conversion process that encompass a Multimodal web page are {CLICK}the image files which consists of images in the slides and the slides, themselves.</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The audio and video files are placed in a separate folder.</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The transcript for each slide that comes from the Notes are placed in a separate folder.</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The viewer application is in a separate folder, which means that you do not need to install any special program to handle the viewer.</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And finally an “index.htm” file is created as an easy way to double-click, or host on your website, with the other sub folders.</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There are pros and cons to each of these ways to convert your PowerPoint file.  You will need to choose what is best for you and your workflow.</a:t>
            </a:r>
          </a:p>
        </p:txBody>
      </p:sp>
      <p:sp>
        <p:nvSpPr>
          <p:cNvPr id="4" name="Slide Number Placeholder 3"/>
          <p:cNvSpPr>
            <a:spLocks noGrp="1"/>
          </p:cNvSpPr>
          <p:nvPr>
            <p:ph type="sldNum" sz="quarter" idx="5"/>
          </p:nvPr>
        </p:nvSpPr>
        <p:spPr/>
        <p:txBody>
          <a:bodyPr/>
          <a:lstStyle/>
          <a:p>
            <a:fld id="{19786431-D1BB-4F6B-9525-D7C6D0E121EB}" type="slidenum">
              <a:rPr lang="en-US" smtClean="0"/>
              <a:t>3</a:t>
            </a:fld>
            <a:endParaRPr lang="en-US"/>
          </a:p>
        </p:txBody>
      </p:sp>
    </p:spTree>
    <p:extLst>
      <p:ext uri="{BB962C8B-B14F-4D97-AF65-F5344CB8AC3E}">
        <p14:creationId xmlns:p14="http://schemas.microsoft.com/office/powerpoint/2010/main" val="13835793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The web page created by Multimodal Slides can be published and integrated in multiple ways.</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First, it can simply be added to your website.  You could be using WordPress, Umbraco, Orchard, or one of the many other options.  You may have a custom web site that makes it even easier to integrate.  You could also host a free website on GitHub Pages and make it a stand-alone website.</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Second, if you are invested into a workflow platform, like a Learning Management System (LMS), Content Management System (CMS), or a Wiki, then a special import package like SCORM can be created, or a special API connection and process, can be handled within Multimodal Slides.</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Third, do you need a fully integrated solution?  Something that is self-hosted or managed-hosted?  Along with a web application, do you also need a mobile or desktop application?</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The Multimodal web page can be published and shared in a manner that best suits your needs and those of your organization.</a:t>
            </a:r>
          </a:p>
        </p:txBody>
      </p:sp>
      <p:sp>
        <p:nvSpPr>
          <p:cNvPr id="4" name="Slide Number Placeholder 3"/>
          <p:cNvSpPr>
            <a:spLocks noGrp="1"/>
          </p:cNvSpPr>
          <p:nvPr>
            <p:ph type="sldNum" sz="quarter" idx="5"/>
          </p:nvPr>
        </p:nvSpPr>
        <p:spPr/>
        <p:txBody>
          <a:bodyPr/>
          <a:lstStyle/>
          <a:p>
            <a:fld id="{19786431-D1BB-4F6B-9525-D7C6D0E121EB}" type="slidenum">
              <a:rPr lang="en-US" smtClean="0"/>
              <a:t>4</a:t>
            </a:fld>
            <a:endParaRPr lang="en-US"/>
          </a:p>
        </p:txBody>
      </p:sp>
    </p:spTree>
    <p:extLst>
      <p:ext uri="{BB962C8B-B14F-4D97-AF65-F5344CB8AC3E}">
        <p14:creationId xmlns:p14="http://schemas.microsoft.com/office/powerpoint/2010/main" val="21753078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Here are some of the features on the roadmap.</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The output from Multimodal Slides will continue to evolve to better support mobile (small screen) devices, Search Engine Optimization, and accessibility needs.</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I am working through providing better formatting capabilities in your Notes -- the transcript of the presentation.  The use of Markdown is a popular request.  Also, the use of external tools like Microsoft Word to be used instead of the Notes section in PowerPoint is getting tested.</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The primary goal is to provide more viewing options, otherwise known as modes.</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The Presentation Mode is the current available experience.  It is a similar experience on how you can share an embedded PowerPoint or Google Slides presentation without the player capability.</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The Reading Mode has more of a Blog Post look and feel.  It is a nice alternative for someone that wants to quickly scroll through the content.</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The Video Player Mode is a combination of the Presentation Mode and the Reading Mode.  As the presentation plays, the notes and slide thumbnails scroll with the player.</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A fully automated service will eventually be available, allowing users to pay per file for a few dollars or subscribe to better utilize the Multimodal Slides platform.</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If you don’t want to wait, feel free to review my options on how we can work together.</a:t>
            </a:r>
          </a:p>
        </p:txBody>
      </p:sp>
      <p:sp>
        <p:nvSpPr>
          <p:cNvPr id="4" name="Slide Number Placeholder 3"/>
          <p:cNvSpPr>
            <a:spLocks noGrp="1"/>
          </p:cNvSpPr>
          <p:nvPr>
            <p:ph type="sldNum" sz="quarter" idx="5"/>
          </p:nvPr>
        </p:nvSpPr>
        <p:spPr/>
        <p:txBody>
          <a:bodyPr/>
          <a:lstStyle/>
          <a:p>
            <a:fld id="{19786431-D1BB-4F6B-9525-D7C6D0E121EB}" type="slidenum">
              <a:rPr lang="en-US" smtClean="0"/>
              <a:t>5</a:t>
            </a:fld>
            <a:endParaRPr lang="en-US"/>
          </a:p>
        </p:txBody>
      </p:sp>
    </p:spTree>
    <p:extLst>
      <p:ext uri="{BB962C8B-B14F-4D97-AF65-F5344CB8AC3E}">
        <p14:creationId xmlns:p14="http://schemas.microsoft.com/office/powerpoint/2010/main" val="29262529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Until this service can be fully automated, I have three options for how we can work together.</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First, we can have a Conversion with a handful of your presentation files.  This allows you to see and work with the results.  The price for a Conversion is usually within four figures, and the turnaround time is within days.  From there, you can publish the results to your website. </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Second, once you are satisfied with one or more Conversions, then needing help setting up, or integrating into, a website could be your next step.  The price for processing and deploying to your website is usually within five figures and usually spans between four and twelve weeks.</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Third, if you expect you’ll need to update your website often, then you will need some workflow automation to process and deploy to your website on a regular basis.  The price for a Workflow implementation is usually within six figures, and the duration is usually between six and twelve months.</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For everything I do, I provide a 100% guarantee for my work.</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I always start with a Free Consultation to see if there is a good fit.</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CLICK}To start the conversation, email me at John@MultimodalSlides.com.  I look forward to hearing from you.</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Also feel free to learn more about me at JohnBaluka.com, check out the Multimodal Slides YouTube channel, download this content as a PDF, download this source PowerPoint file that created this website, or check out the GitHub Pages repository where this website is hosted.</a:t>
            </a:r>
          </a:p>
          <a:p>
            <a:pPr marL="0" marR="0">
              <a:lnSpc>
                <a:spcPct val="107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Of course, this website, MultimodalSlides.com, was created within the platform, I would appreciate any feedback to help me make it better.</a:t>
            </a:r>
          </a:p>
        </p:txBody>
      </p:sp>
      <p:sp>
        <p:nvSpPr>
          <p:cNvPr id="4" name="Slide Number Placeholder 3"/>
          <p:cNvSpPr>
            <a:spLocks noGrp="1"/>
          </p:cNvSpPr>
          <p:nvPr>
            <p:ph type="sldNum" sz="quarter" idx="5"/>
          </p:nvPr>
        </p:nvSpPr>
        <p:spPr/>
        <p:txBody>
          <a:bodyPr/>
          <a:lstStyle/>
          <a:p>
            <a:fld id="{19786431-D1BB-4F6B-9525-D7C6D0E121EB}" type="slidenum">
              <a:rPr lang="en-US" smtClean="0"/>
              <a:t>6</a:t>
            </a:fld>
            <a:endParaRPr lang="en-US"/>
          </a:p>
        </p:txBody>
      </p:sp>
    </p:spTree>
    <p:extLst>
      <p:ext uri="{BB962C8B-B14F-4D97-AF65-F5344CB8AC3E}">
        <p14:creationId xmlns:p14="http://schemas.microsoft.com/office/powerpoint/2010/main" val="11394716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mailto:John@JohnBaluka.com?subject=[Please%20Provide%20Subject]" TargetMode="External"/><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hyperlink" Target="https://github.com/MultimodalSlides/MultimodalSlides.github.io" TargetMode="External"/><Relationship Id="rId13" Type="http://schemas.openxmlformats.org/officeDocument/2006/relationships/image" Target="../media/image4.png"/><Relationship Id="rId18" Type="http://schemas.openxmlformats.org/officeDocument/2006/relationships/image" Target="../media/image5.png"/><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hyperlink" Target="https://multimodalslides.com/" TargetMode="External"/><Relationship Id="rId17" Type="http://schemas.openxmlformats.org/officeDocument/2006/relationships/hyperlink" Target="https://multimodalslides.com/modes/MultimodalSlides.pptx" TargetMode="External"/><Relationship Id="rId2" Type="http://schemas.openxmlformats.org/officeDocument/2006/relationships/slide" Target="../slides/slide1.xml"/><Relationship Id="rId16" Type="http://schemas.openxmlformats.org/officeDocument/2006/relationships/image" Target="../media/image1.png"/><Relationship Id="rId20"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image" Target="../media/image3.png"/><Relationship Id="rId5" Type="http://schemas.openxmlformats.org/officeDocument/2006/relationships/slide" Target="../slides/slide4.xml"/><Relationship Id="rId15" Type="http://schemas.openxmlformats.org/officeDocument/2006/relationships/hyperlink" Target="https://johnbaluka.com/" TargetMode="External"/><Relationship Id="rId10" Type="http://schemas.openxmlformats.org/officeDocument/2006/relationships/hyperlink" Target="https://www.youtube.com/@MultimodalSlides" TargetMode="External"/><Relationship Id="rId19" Type="http://schemas.openxmlformats.org/officeDocument/2006/relationships/hyperlink" Target="https://multimodalslides.com/modes/MultimodalSlides.pdf" TargetMode="External"/><Relationship Id="rId4" Type="http://schemas.openxmlformats.org/officeDocument/2006/relationships/slide" Target="../slides/slide3.xml"/><Relationship Id="rId9" Type="http://schemas.openxmlformats.org/officeDocument/2006/relationships/image" Target="../media/image2.png"/><Relationship Id="rId14" Type="http://schemas.openxmlformats.org/officeDocument/2006/relationships/hyperlink" Target="mailto:John@MultimodalSlides.com?subject=[Please%20Provide%20Subject]" TargetMode="Externa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8064A2"/>
        </a:solidFill>
        <a:effectLst/>
      </p:bgPr>
    </p:bg>
    <p:spTree>
      <p:nvGrpSpPr>
        <p:cNvPr id="1" name=""/>
        <p:cNvGrpSpPr/>
        <p:nvPr/>
      </p:nvGrpSpPr>
      <p:grpSpPr>
        <a:xfrm>
          <a:off x="0" y="0"/>
          <a:ext cx="0" cy="0"/>
          <a:chOff x="0" y="0"/>
          <a:chExt cx="0" cy="0"/>
        </a:xfrm>
      </p:grpSpPr>
      <p:sp>
        <p:nvSpPr>
          <p:cNvPr id="2" name="TitlePlaceholder"/>
          <p:cNvSpPr>
            <a:spLocks noGrp="1"/>
          </p:cNvSpPr>
          <p:nvPr>
            <p:ph type="ctrTitle" hasCustomPrompt="1"/>
          </p:nvPr>
        </p:nvSpPr>
        <p:spPr>
          <a:xfrm>
            <a:off x="604983" y="355746"/>
            <a:ext cx="10982036" cy="3035154"/>
          </a:xfrm>
        </p:spPr>
        <p:txBody>
          <a:bodyPr anchor="b"/>
          <a:lstStyle>
            <a:lvl1pPr algn="ctr">
              <a:defRPr sz="6000" b="1">
                <a:solidFill>
                  <a:schemeClr val="bg1"/>
                </a:solidFill>
              </a:defRPr>
            </a:lvl1pPr>
          </a:lstStyle>
          <a:p>
            <a:r>
              <a:rPr lang="en-US" dirty="0"/>
              <a:t>{Presentation Title Here}</a:t>
            </a:r>
          </a:p>
        </p:txBody>
      </p:sp>
      <p:sp>
        <p:nvSpPr>
          <p:cNvPr id="13" name="SlideGuideRectangle">
            <a:extLst>
              <a:ext uri="{FF2B5EF4-FFF2-40B4-BE49-F238E27FC236}">
                <a16:creationId xmlns:a16="http://schemas.microsoft.com/office/drawing/2014/main" id="{64F8EEA9-F4E1-4273-8EAA-C60EF4845D94}"/>
              </a:ext>
            </a:extLst>
          </p:cNvPr>
          <p:cNvSpPr/>
          <p:nvPr userDrawn="1"/>
        </p:nvSpPr>
        <p:spPr>
          <a:xfrm>
            <a:off x="0" y="0"/>
            <a:ext cx="12192000" cy="6858008"/>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Placeholder">
            <a:extLst>
              <a:ext uri="{FF2B5EF4-FFF2-40B4-BE49-F238E27FC236}">
                <a16:creationId xmlns:a16="http://schemas.microsoft.com/office/drawing/2014/main" id="{C4D7172B-B0B6-4EC5-D0F8-BF3BD588A562}"/>
              </a:ext>
            </a:extLst>
          </p:cNvPr>
          <p:cNvSpPr>
            <a:spLocks noGrp="1"/>
          </p:cNvSpPr>
          <p:nvPr>
            <p:ph sz="quarter" idx="14" hasCustomPrompt="1"/>
          </p:nvPr>
        </p:nvSpPr>
        <p:spPr>
          <a:xfrm>
            <a:off x="604983" y="3639553"/>
            <a:ext cx="5348813" cy="2762949"/>
          </a:xfrm>
        </p:spPr>
        <p:txBody>
          <a:bodyPr>
            <a:normAutofit/>
          </a:bodyPr>
          <a:lstStyle>
            <a:lvl1pPr>
              <a:defRPr sz="2000">
                <a:solidFill>
                  <a:schemeClr val="bg2">
                    <a:lumMod val="25000"/>
                  </a:schemeClr>
                </a:solidFill>
              </a:defRPr>
            </a:lvl1pPr>
          </a:lstStyle>
          <a:p>
            <a:pPr lvl="0"/>
            <a:r>
              <a:rPr lang="en-US" dirty="0"/>
              <a:t>{Info Here}</a:t>
            </a:r>
          </a:p>
        </p:txBody>
      </p:sp>
      <p:sp>
        <p:nvSpPr>
          <p:cNvPr id="5" name="Email">
            <a:extLst>
              <a:ext uri="{FF2B5EF4-FFF2-40B4-BE49-F238E27FC236}">
                <a16:creationId xmlns:a16="http://schemas.microsoft.com/office/drawing/2014/main" id="{E066C1FB-1519-3401-F881-32510B4E49D9}"/>
              </a:ext>
            </a:extLst>
          </p:cNvPr>
          <p:cNvSpPr txBox="1"/>
          <p:nvPr userDrawn="1"/>
        </p:nvSpPr>
        <p:spPr>
          <a:xfrm>
            <a:off x="6238204" y="5756171"/>
            <a:ext cx="5348813" cy="646331"/>
          </a:xfrm>
          <a:prstGeom prst="rect">
            <a:avLst/>
          </a:prstGeom>
          <a:noFill/>
        </p:spPr>
        <p:txBody>
          <a:bodyPr wrap="square" rtlCol="0">
            <a:spAutoFit/>
          </a:bodyPr>
          <a:lstStyle/>
          <a:p>
            <a:pPr algn="r"/>
            <a:r>
              <a:rPr lang="en-US" sz="3600" b="0" dirty="0">
                <a:solidFill>
                  <a:schemeClr val="bg1"/>
                </a:solidFill>
                <a:hlinkClick r:id="rId2">
                  <a:extLst>
                    <a:ext uri="{A12FA001-AC4F-418D-AE19-62706E023703}">
                      <ahyp:hlinkClr xmlns:ahyp="http://schemas.microsoft.com/office/drawing/2018/hyperlinkcolor" val="tx"/>
                    </a:ext>
                  </a:extLst>
                </a:hlinkClick>
              </a:rPr>
              <a:t>John@JohnBaluka.com</a:t>
            </a:r>
            <a:r>
              <a:rPr lang="en-US" sz="3600" b="0" dirty="0">
                <a:solidFill>
                  <a:schemeClr val="bg1"/>
                </a:solidFill>
              </a:rPr>
              <a:t> </a:t>
            </a:r>
          </a:p>
        </p:txBody>
      </p:sp>
      <p:pic>
        <p:nvPicPr>
          <p:cNvPr id="6" name="imgJohnBaluka" descr="A close up of a logo&#10;&#10;Description automatically generated">
            <a:extLst>
              <a:ext uri="{FF2B5EF4-FFF2-40B4-BE49-F238E27FC236}">
                <a16:creationId xmlns:a16="http://schemas.microsoft.com/office/drawing/2014/main" id="{69AD9BC3-848F-4666-F169-2D9BFBF874FB}"/>
              </a:ext>
            </a:extLst>
          </p:cNvPr>
          <p:cNvPicPr>
            <a:picLocks noChangeAspect="1"/>
          </p:cNvPicPr>
          <p:nvPr userDrawn="1"/>
        </p:nvPicPr>
        <p:blipFill>
          <a:blip r:embed="rId3"/>
          <a:srcRect l="1857" r="1820"/>
          <a:stretch/>
        </p:blipFill>
        <p:spPr>
          <a:xfrm>
            <a:off x="6238205" y="3639553"/>
            <a:ext cx="5402348" cy="1627653"/>
          </a:xfrm>
          <a:prstGeom prst="rect">
            <a:avLst/>
          </a:prstGeom>
        </p:spPr>
      </p:pic>
    </p:spTree>
    <p:extLst>
      <p:ext uri="{BB962C8B-B14F-4D97-AF65-F5344CB8AC3E}">
        <p14:creationId xmlns:p14="http://schemas.microsoft.com/office/powerpoint/2010/main" val="419597620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TopRectangle">
            <a:extLst>
              <a:ext uri="{FF2B5EF4-FFF2-40B4-BE49-F238E27FC236}">
                <a16:creationId xmlns:a16="http://schemas.microsoft.com/office/drawing/2014/main" id="{F4435E09-25E0-4B9F-9F9E-049B72FF8DBD}"/>
              </a:ext>
            </a:extLst>
          </p:cNvPr>
          <p:cNvSpPr/>
          <p:nvPr userDrawn="1"/>
        </p:nvSpPr>
        <p:spPr>
          <a:xfrm>
            <a:off x="0" y="0"/>
            <a:ext cx="12192000" cy="3498980"/>
          </a:xfrm>
          <a:prstGeom prst="rect">
            <a:avLst/>
          </a:prstGeom>
          <a:solidFill>
            <a:srgbClr val="8064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ContentPlaceholder"/>
          <p:cNvSpPr>
            <a:spLocks noGrp="1"/>
          </p:cNvSpPr>
          <p:nvPr>
            <p:ph sz="half" idx="2" hasCustomPrompt="1"/>
          </p:nvPr>
        </p:nvSpPr>
        <p:spPr>
          <a:xfrm>
            <a:off x="5193797" y="3566160"/>
            <a:ext cx="6684265" cy="2807208"/>
          </a:xfrm>
        </p:spPr>
        <p:txBody>
          <a:bodyPr/>
          <a:lstStyle>
            <a:lvl1pPr>
              <a:defRPr/>
            </a:lvl1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ectionNameTextPlaceholder"/>
          <p:cNvSpPr>
            <a:spLocks noGrp="1"/>
          </p:cNvSpPr>
          <p:nvPr>
            <p:ph type="title" hasCustomPrompt="1"/>
          </p:nvPr>
        </p:nvSpPr>
        <p:spPr>
          <a:xfrm>
            <a:off x="314040" y="2761488"/>
            <a:ext cx="11564023" cy="642796"/>
          </a:xfrm>
        </p:spPr>
        <p:txBody>
          <a:bodyPr>
            <a:normAutofit/>
          </a:bodyPr>
          <a:lstStyle>
            <a:lvl1pPr>
              <a:defRPr sz="4000">
                <a:solidFill>
                  <a:schemeClr val="bg1"/>
                </a:solidFill>
              </a:defRPr>
            </a:lvl1pPr>
          </a:lstStyle>
          <a:p>
            <a:r>
              <a:rPr lang="en-US" dirty="0"/>
              <a:t>{Section Name Here}</a:t>
            </a:r>
          </a:p>
        </p:txBody>
      </p:sp>
      <p:sp>
        <p:nvSpPr>
          <p:cNvPr id="6" name="GuideRectangle"/>
          <p:cNvSpPr/>
          <p:nvPr userDrawn="1"/>
        </p:nvSpPr>
        <p:spPr>
          <a:xfrm>
            <a:off x="5193797" y="3566160"/>
            <a:ext cx="6684264" cy="2807208"/>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ooterPlaceholder">
            <a:extLst>
              <a:ext uri="{FF2B5EF4-FFF2-40B4-BE49-F238E27FC236}">
                <a16:creationId xmlns:a16="http://schemas.microsoft.com/office/drawing/2014/main" id="{800ADB1F-B7E9-360E-1A48-A6AE36B64B08}"/>
              </a:ext>
            </a:extLst>
          </p:cNvPr>
          <p:cNvSpPr>
            <a:spLocks noGrp="1"/>
          </p:cNvSpPr>
          <p:nvPr>
            <p:ph type="ftr" sz="quarter" idx="11"/>
          </p:nvPr>
        </p:nvSpPr>
        <p:spPr>
          <a:xfrm>
            <a:off x="8650013" y="6536602"/>
            <a:ext cx="2932387" cy="313241"/>
          </a:xfrm>
        </p:spPr>
        <p:txBody>
          <a:bodyPr/>
          <a:lstStyle>
            <a:lvl1pPr algn="ctr">
              <a:defRPr>
                <a:solidFill>
                  <a:schemeClr val="accent1"/>
                </a:solidFill>
              </a:defRPr>
            </a:lvl1pPr>
          </a:lstStyle>
          <a:p>
            <a:endParaRPr lang="en-US" dirty="0"/>
          </a:p>
        </p:txBody>
      </p:sp>
      <p:sp>
        <p:nvSpPr>
          <p:cNvPr id="13" name="SlideNumberPlaceholder">
            <a:extLst>
              <a:ext uri="{FF2B5EF4-FFF2-40B4-BE49-F238E27FC236}">
                <a16:creationId xmlns:a16="http://schemas.microsoft.com/office/drawing/2014/main" id="{C37702A2-4777-CF13-10E9-C61D11D91EE1}"/>
              </a:ext>
            </a:extLst>
          </p:cNvPr>
          <p:cNvSpPr>
            <a:spLocks noGrp="1"/>
          </p:cNvSpPr>
          <p:nvPr>
            <p:ph type="sldNum" sz="quarter" idx="12"/>
          </p:nvPr>
        </p:nvSpPr>
        <p:spPr>
          <a:xfrm>
            <a:off x="11582400" y="6536601"/>
            <a:ext cx="535709" cy="313242"/>
          </a:xfrm>
        </p:spPr>
        <p:txBody>
          <a:bodyPr/>
          <a:lstStyle>
            <a:lvl1pPr>
              <a:defRPr>
                <a:solidFill>
                  <a:schemeClr val="accent1"/>
                </a:solidFill>
              </a:defRPr>
            </a:lvl1pPr>
          </a:lstStyle>
          <a:p>
            <a:fld id="{E492D9C9-D102-485F-849A-B515010D78AF}" type="slidenum">
              <a:rPr lang="en-US" smtClean="0"/>
              <a:pPr/>
              <a:t>‹#›</a:t>
            </a:fld>
            <a:endParaRPr lang="en-US" dirty="0"/>
          </a:p>
        </p:txBody>
      </p:sp>
      <p:sp>
        <p:nvSpPr>
          <p:cNvPr id="14" name="ReferenceTextPlaceholder">
            <a:extLst>
              <a:ext uri="{FF2B5EF4-FFF2-40B4-BE49-F238E27FC236}">
                <a16:creationId xmlns:a16="http://schemas.microsoft.com/office/drawing/2014/main" id="{CECEC74D-4B73-FA79-4BBE-4E4DBBE774BC}"/>
              </a:ext>
            </a:extLst>
          </p:cNvPr>
          <p:cNvSpPr>
            <a:spLocks noGrp="1"/>
          </p:cNvSpPr>
          <p:nvPr>
            <p:ph type="body" sz="quarter" idx="20" hasCustomPrompt="1"/>
          </p:nvPr>
        </p:nvSpPr>
        <p:spPr>
          <a:xfrm>
            <a:off x="64654" y="6536601"/>
            <a:ext cx="8585359" cy="315158"/>
          </a:xfrm>
        </p:spPr>
        <p:txBody>
          <a:bodyPr anchor="b">
            <a:normAutofit/>
          </a:bodyPr>
          <a:lstStyle>
            <a:lvl1pPr marL="0" indent="0" algn="l">
              <a:buNone/>
              <a:defRPr sz="1600" b="0">
                <a:solidFill>
                  <a:schemeClr val="accent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Reference Text Here}</a:t>
            </a:r>
          </a:p>
        </p:txBody>
      </p:sp>
    </p:spTree>
    <p:extLst>
      <p:ext uri="{BB962C8B-B14F-4D97-AF65-F5344CB8AC3E}">
        <p14:creationId xmlns:p14="http://schemas.microsoft.com/office/powerpoint/2010/main" val="180747647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ull Content Area">
    <p:spTree>
      <p:nvGrpSpPr>
        <p:cNvPr id="1" name=""/>
        <p:cNvGrpSpPr/>
        <p:nvPr/>
      </p:nvGrpSpPr>
      <p:grpSpPr>
        <a:xfrm>
          <a:off x="0" y="0"/>
          <a:ext cx="0" cy="0"/>
          <a:chOff x="0" y="0"/>
          <a:chExt cx="0" cy="0"/>
        </a:xfrm>
      </p:grpSpPr>
      <p:sp>
        <p:nvSpPr>
          <p:cNvPr id="10" name="TitlePlaceholder"/>
          <p:cNvSpPr>
            <a:spLocks noGrp="1"/>
          </p:cNvSpPr>
          <p:nvPr>
            <p:ph type="title" hasCustomPrompt="1"/>
          </p:nvPr>
        </p:nvSpPr>
        <p:spPr>
          <a:xfrm>
            <a:off x="0" y="0"/>
            <a:ext cx="12192000" cy="642796"/>
          </a:xfrm>
          <a:solidFill>
            <a:srgbClr val="8064A2"/>
          </a:solidFill>
        </p:spPr>
        <p:txBody>
          <a:bodyPr>
            <a:normAutofit/>
          </a:bodyPr>
          <a:lstStyle>
            <a:lvl1pPr>
              <a:defRPr sz="3200">
                <a:solidFill>
                  <a:schemeClr val="bg1"/>
                </a:solidFill>
              </a:defRPr>
            </a:lvl1pPr>
          </a:lstStyle>
          <a:p>
            <a:r>
              <a:rPr lang="en-US"/>
              <a:t>{Title Here}</a:t>
            </a:r>
          </a:p>
        </p:txBody>
      </p:sp>
      <p:sp>
        <p:nvSpPr>
          <p:cNvPr id="11" name="ContentPlaceholder">
            <a:extLst>
              <a:ext uri="{FF2B5EF4-FFF2-40B4-BE49-F238E27FC236}">
                <a16:creationId xmlns:a16="http://schemas.microsoft.com/office/drawing/2014/main" id="{C7E541B3-3C1F-46E3-8AC8-53985C99C4C0}"/>
              </a:ext>
            </a:extLst>
          </p:cNvPr>
          <p:cNvSpPr>
            <a:spLocks noGrp="1"/>
          </p:cNvSpPr>
          <p:nvPr>
            <p:ph sz="half" idx="2" hasCustomPrompt="1"/>
          </p:nvPr>
        </p:nvSpPr>
        <p:spPr>
          <a:xfrm>
            <a:off x="64653" y="689684"/>
            <a:ext cx="12053455" cy="5774616"/>
          </a:xfrm>
        </p:spPr>
        <p:txBody>
          <a:bodyPr/>
          <a:lstStyle>
            <a:lvl1pPr>
              <a:defRPr/>
            </a:lvl1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2" name="SectionNameTextPlaceholder">
            <a:extLst>
              <a:ext uri="{FF2B5EF4-FFF2-40B4-BE49-F238E27FC236}">
                <a16:creationId xmlns:a16="http://schemas.microsoft.com/office/drawing/2014/main" id="{2274E0CE-A1F2-E942-415D-5EAC45E16348}"/>
              </a:ext>
            </a:extLst>
          </p:cNvPr>
          <p:cNvSpPr>
            <a:spLocks noGrp="1"/>
          </p:cNvSpPr>
          <p:nvPr>
            <p:ph type="body" sz="quarter" idx="3" hasCustomPrompt="1"/>
          </p:nvPr>
        </p:nvSpPr>
        <p:spPr>
          <a:xfrm>
            <a:off x="8822575" y="0"/>
            <a:ext cx="3369430" cy="346938"/>
          </a:xfrm>
        </p:spPr>
        <p:txBody>
          <a:bodyPr anchor="b">
            <a:normAutofit/>
          </a:bodyPr>
          <a:lstStyle>
            <a:lvl1pPr marL="0" indent="0" algn="r">
              <a:buNone/>
              <a:defRPr sz="1600" b="0">
                <a:solidFill>
                  <a:schemeClr val="bg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Section Name Here}</a:t>
            </a:r>
          </a:p>
        </p:txBody>
      </p:sp>
      <p:sp>
        <p:nvSpPr>
          <p:cNvPr id="12" name="FooterPlaceholder">
            <a:extLst>
              <a:ext uri="{FF2B5EF4-FFF2-40B4-BE49-F238E27FC236}">
                <a16:creationId xmlns:a16="http://schemas.microsoft.com/office/drawing/2014/main" id="{25303E3C-A473-CEF9-90B7-C96573B7B328}"/>
              </a:ext>
            </a:extLst>
          </p:cNvPr>
          <p:cNvSpPr>
            <a:spLocks noGrp="1"/>
          </p:cNvSpPr>
          <p:nvPr>
            <p:ph type="ftr" sz="quarter" idx="11"/>
          </p:nvPr>
        </p:nvSpPr>
        <p:spPr>
          <a:xfrm>
            <a:off x="8650013" y="6536602"/>
            <a:ext cx="2932387" cy="313241"/>
          </a:xfrm>
        </p:spPr>
        <p:txBody>
          <a:bodyPr/>
          <a:lstStyle>
            <a:lvl1pPr algn="ctr">
              <a:defRPr>
                <a:solidFill>
                  <a:schemeClr val="accent1"/>
                </a:solidFill>
              </a:defRPr>
            </a:lvl1pPr>
          </a:lstStyle>
          <a:p>
            <a:endParaRPr lang="en-US"/>
          </a:p>
        </p:txBody>
      </p:sp>
      <p:sp>
        <p:nvSpPr>
          <p:cNvPr id="13" name="SlideNumberPlaceholder">
            <a:extLst>
              <a:ext uri="{FF2B5EF4-FFF2-40B4-BE49-F238E27FC236}">
                <a16:creationId xmlns:a16="http://schemas.microsoft.com/office/drawing/2014/main" id="{04D2EC1B-C55A-213F-EF6B-A2CBBA672E5C}"/>
              </a:ext>
            </a:extLst>
          </p:cNvPr>
          <p:cNvSpPr>
            <a:spLocks noGrp="1"/>
          </p:cNvSpPr>
          <p:nvPr>
            <p:ph type="sldNum" sz="quarter" idx="12"/>
          </p:nvPr>
        </p:nvSpPr>
        <p:spPr>
          <a:xfrm>
            <a:off x="11582400" y="6536601"/>
            <a:ext cx="535709" cy="313242"/>
          </a:xfrm>
        </p:spPr>
        <p:txBody>
          <a:bodyPr/>
          <a:lstStyle>
            <a:lvl1pPr>
              <a:defRPr>
                <a:solidFill>
                  <a:schemeClr val="accent1"/>
                </a:solidFill>
              </a:defRPr>
            </a:lvl1pPr>
          </a:lstStyle>
          <a:p>
            <a:fld id="{E492D9C9-D102-485F-849A-B515010D78AF}" type="slidenum">
              <a:rPr lang="en-US" smtClean="0"/>
              <a:pPr/>
              <a:t>‹#›</a:t>
            </a:fld>
            <a:endParaRPr lang="en-US"/>
          </a:p>
        </p:txBody>
      </p:sp>
      <p:sp>
        <p:nvSpPr>
          <p:cNvPr id="14" name="ReferenceTextPlaceholder">
            <a:extLst>
              <a:ext uri="{FF2B5EF4-FFF2-40B4-BE49-F238E27FC236}">
                <a16:creationId xmlns:a16="http://schemas.microsoft.com/office/drawing/2014/main" id="{2FC61A78-F99B-DFC7-D358-78649FCACF4D}"/>
              </a:ext>
            </a:extLst>
          </p:cNvPr>
          <p:cNvSpPr>
            <a:spLocks noGrp="1"/>
          </p:cNvSpPr>
          <p:nvPr>
            <p:ph type="body" sz="quarter" idx="20" hasCustomPrompt="1"/>
          </p:nvPr>
        </p:nvSpPr>
        <p:spPr>
          <a:xfrm>
            <a:off x="64654" y="6536601"/>
            <a:ext cx="8585359" cy="315158"/>
          </a:xfrm>
        </p:spPr>
        <p:txBody>
          <a:bodyPr anchor="b">
            <a:normAutofit/>
          </a:bodyPr>
          <a:lstStyle>
            <a:lvl1pPr marL="0" indent="0" algn="l">
              <a:buNone/>
              <a:defRPr sz="1600" b="0">
                <a:solidFill>
                  <a:schemeClr val="accent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Reference Text Here}</a:t>
            </a:r>
          </a:p>
        </p:txBody>
      </p:sp>
    </p:spTree>
    <p:extLst>
      <p:ext uri="{BB962C8B-B14F-4D97-AF65-F5344CB8AC3E}">
        <p14:creationId xmlns:p14="http://schemas.microsoft.com/office/powerpoint/2010/main" val="186670411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ull Content Area - Menu Bar">
    <p:spTree>
      <p:nvGrpSpPr>
        <p:cNvPr id="1" name=""/>
        <p:cNvGrpSpPr/>
        <p:nvPr/>
      </p:nvGrpSpPr>
      <p:grpSpPr>
        <a:xfrm>
          <a:off x="0" y="0"/>
          <a:ext cx="0" cy="0"/>
          <a:chOff x="0" y="0"/>
          <a:chExt cx="0" cy="0"/>
        </a:xfrm>
      </p:grpSpPr>
      <p:sp>
        <p:nvSpPr>
          <p:cNvPr id="17" name="BottomRectangle">
            <a:extLst>
              <a:ext uri="{FF2B5EF4-FFF2-40B4-BE49-F238E27FC236}">
                <a16:creationId xmlns:a16="http://schemas.microsoft.com/office/drawing/2014/main" id="{56FB47D2-8492-22E4-672D-550731F01B27}"/>
              </a:ext>
            </a:extLst>
          </p:cNvPr>
          <p:cNvSpPr/>
          <p:nvPr userDrawn="1"/>
        </p:nvSpPr>
        <p:spPr>
          <a:xfrm>
            <a:off x="0" y="6282409"/>
            <a:ext cx="12192000" cy="573258"/>
          </a:xfrm>
          <a:prstGeom prst="rect">
            <a:avLst/>
          </a:prstGeom>
          <a:solidFill>
            <a:srgbClr val="8064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opRectangle">
            <a:extLst>
              <a:ext uri="{FF2B5EF4-FFF2-40B4-BE49-F238E27FC236}">
                <a16:creationId xmlns:a16="http://schemas.microsoft.com/office/drawing/2014/main" id="{C63E96A8-6EB4-A873-1E29-BC4D5B5DB164}"/>
              </a:ext>
            </a:extLst>
          </p:cNvPr>
          <p:cNvSpPr/>
          <p:nvPr userDrawn="1"/>
        </p:nvSpPr>
        <p:spPr>
          <a:xfrm>
            <a:off x="0" y="0"/>
            <a:ext cx="12192000" cy="642796"/>
          </a:xfrm>
          <a:prstGeom prst="rect">
            <a:avLst/>
          </a:prstGeom>
          <a:solidFill>
            <a:srgbClr val="8064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Placeholder"/>
          <p:cNvSpPr>
            <a:spLocks noGrp="1"/>
          </p:cNvSpPr>
          <p:nvPr>
            <p:ph type="title" hasCustomPrompt="1"/>
          </p:nvPr>
        </p:nvSpPr>
        <p:spPr>
          <a:xfrm>
            <a:off x="0" y="-568500"/>
            <a:ext cx="8764693" cy="514108"/>
          </a:xfrm>
          <a:noFill/>
        </p:spPr>
        <p:txBody>
          <a:bodyPr>
            <a:normAutofit/>
          </a:bodyPr>
          <a:lstStyle>
            <a:lvl1pPr>
              <a:defRPr sz="3200">
                <a:solidFill>
                  <a:schemeClr val="tx1"/>
                </a:solidFill>
              </a:defRPr>
            </a:lvl1pPr>
          </a:lstStyle>
          <a:p>
            <a:r>
              <a:rPr lang="en-US"/>
              <a:t>{Title Here}</a:t>
            </a:r>
          </a:p>
        </p:txBody>
      </p:sp>
      <p:sp>
        <p:nvSpPr>
          <p:cNvPr id="11" name="ContentPlaceholder">
            <a:extLst>
              <a:ext uri="{FF2B5EF4-FFF2-40B4-BE49-F238E27FC236}">
                <a16:creationId xmlns:a16="http://schemas.microsoft.com/office/drawing/2014/main" id="{C7E541B3-3C1F-46E3-8AC8-53985C99C4C0}"/>
              </a:ext>
            </a:extLst>
          </p:cNvPr>
          <p:cNvSpPr>
            <a:spLocks noGrp="1"/>
          </p:cNvSpPr>
          <p:nvPr>
            <p:ph sz="half" idx="2" hasCustomPrompt="1"/>
          </p:nvPr>
        </p:nvSpPr>
        <p:spPr>
          <a:xfrm>
            <a:off x="64653" y="689684"/>
            <a:ext cx="12053455" cy="5561415"/>
          </a:xfrm>
        </p:spPr>
        <p:txBody>
          <a:bodyPr/>
          <a:lstStyle>
            <a:lvl1pPr>
              <a:defRPr/>
            </a:lvl1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2" name="SectionNameTextPlaceholder">
            <a:extLst>
              <a:ext uri="{FF2B5EF4-FFF2-40B4-BE49-F238E27FC236}">
                <a16:creationId xmlns:a16="http://schemas.microsoft.com/office/drawing/2014/main" id="{2274E0CE-A1F2-E942-415D-5EAC45E16348}"/>
              </a:ext>
            </a:extLst>
          </p:cNvPr>
          <p:cNvSpPr>
            <a:spLocks noGrp="1"/>
          </p:cNvSpPr>
          <p:nvPr>
            <p:ph type="body" sz="quarter" idx="3" hasCustomPrompt="1"/>
          </p:nvPr>
        </p:nvSpPr>
        <p:spPr>
          <a:xfrm>
            <a:off x="8822570" y="-406214"/>
            <a:ext cx="3369430" cy="346938"/>
          </a:xfrm>
        </p:spPr>
        <p:txBody>
          <a:bodyPr anchor="b">
            <a:normAutofit/>
          </a:bodyPr>
          <a:lstStyle>
            <a:lvl1pPr marL="0" indent="0" algn="r">
              <a:buNone/>
              <a:defRPr sz="1600" b="0">
                <a:solidFill>
                  <a:schemeClr val="tx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Section Name Here}</a:t>
            </a:r>
          </a:p>
        </p:txBody>
      </p:sp>
      <p:sp>
        <p:nvSpPr>
          <p:cNvPr id="12" name="FooterPlaceholder">
            <a:extLst>
              <a:ext uri="{FF2B5EF4-FFF2-40B4-BE49-F238E27FC236}">
                <a16:creationId xmlns:a16="http://schemas.microsoft.com/office/drawing/2014/main" id="{25303E3C-A473-CEF9-90B7-C96573B7B328}"/>
              </a:ext>
            </a:extLst>
          </p:cNvPr>
          <p:cNvSpPr>
            <a:spLocks noGrp="1"/>
          </p:cNvSpPr>
          <p:nvPr>
            <p:ph type="ftr" sz="quarter" idx="11"/>
          </p:nvPr>
        </p:nvSpPr>
        <p:spPr>
          <a:xfrm>
            <a:off x="8650013" y="6536602"/>
            <a:ext cx="2932387" cy="313241"/>
          </a:xfrm>
        </p:spPr>
        <p:txBody>
          <a:bodyPr/>
          <a:lstStyle>
            <a:lvl1pPr algn="ctr">
              <a:defRPr>
                <a:solidFill>
                  <a:schemeClr val="accent1"/>
                </a:solidFill>
              </a:defRPr>
            </a:lvl1pPr>
          </a:lstStyle>
          <a:p>
            <a:endParaRPr lang="en-US"/>
          </a:p>
        </p:txBody>
      </p:sp>
      <p:sp>
        <p:nvSpPr>
          <p:cNvPr id="13" name="SlideNumberPlaceholder">
            <a:extLst>
              <a:ext uri="{FF2B5EF4-FFF2-40B4-BE49-F238E27FC236}">
                <a16:creationId xmlns:a16="http://schemas.microsoft.com/office/drawing/2014/main" id="{04D2EC1B-C55A-213F-EF6B-A2CBBA672E5C}"/>
              </a:ext>
            </a:extLst>
          </p:cNvPr>
          <p:cNvSpPr>
            <a:spLocks noGrp="1"/>
          </p:cNvSpPr>
          <p:nvPr>
            <p:ph type="sldNum" sz="quarter" idx="12"/>
          </p:nvPr>
        </p:nvSpPr>
        <p:spPr>
          <a:xfrm>
            <a:off x="11582400" y="6536601"/>
            <a:ext cx="535709" cy="313242"/>
          </a:xfrm>
        </p:spPr>
        <p:txBody>
          <a:bodyPr/>
          <a:lstStyle>
            <a:lvl1pPr>
              <a:defRPr>
                <a:solidFill>
                  <a:schemeClr val="accent1"/>
                </a:solidFill>
              </a:defRPr>
            </a:lvl1pPr>
          </a:lstStyle>
          <a:p>
            <a:fld id="{E492D9C9-D102-485F-849A-B515010D78AF}" type="slidenum">
              <a:rPr lang="en-US" smtClean="0"/>
              <a:pPr/>
              <a:t>‹#›</a:t>
            </a:fld>
            <a:endParaRPr lang="en-US"/>
          </a:p>
        </p:txBody>
      </p:sp>
      <p:sp>
        <p:nvSpPr>
          <p:cNvPr id="14" name="ReferenceTextPlaceholder">
            <a:extLst>
              <a:ext uri="{FF2B5EF4-FFF2-40B4-BE49-F238E27FC236}">
                <a16:creationId xmlns:a16="http://schemas.microsoft.com/office/drawing/2014/main" id="{2FC61A78-F99B-DFC7-D358-78649FCACF4D}"/>
              </a:ext>
            </a:extLst>
          </p:cNvPr>
          <p:cNvSpPr>
            <a:spLocks noGrp="1"/>
          </p:cNvSpPr>
          <p:nvPr>
            <p:ph type="body" sz="quarter" idx="20" hasCustomPrompt="1"/>
          </p:nvPr>
        </p:nvSpPr>
        <p:spPr>
          <a:xfrm>
            <a:off x="64654" y="6881153"/>
            <a:ext cx="8585359" cy="315158"/>
          </a:xfrm>
        </p:spPr>
        <p:txBody>
          <a:bodyPr anchor="b">
            <a:normAutofit/>
          </a:bodyPr>
          <a:lstStyle>
            <a:lvl1pPr marL="0" indent="0" algn="l">
              <a:buNone/>
              <a:defRPr sz="1600" b="0">
                <a:solidFill>
                  <a:schemeClr val="accent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Reference Text Here}</a:t>
            </a:r>
          </a:p>
        </p:txBody>
      </p:sp>
      <p:sp>
        <p:nvSpPr>
          <p:cNvPr id="3" name="rect1">
            <a:hlinkClick r:id="rId2" action="ppaction://hlinksldjump"/>
            <a:extLst>
              <a:ext uri="{FF2B5EF4-FFF2-40B4-BE49-F238E27FC236}">
                <a16:creationId xmlns:a16="http://schemas.microsoft.com/office/drawing/2014/main" id="{4ED32A9E-7BED-724F-4EA7-5839DDCD0305}"/>
              </a:ext>
            </a:extLst>
          </p:cNvPr>
          <p:cNvSpPr/>
          <p:nvPr userDrawn="1"/>
        </p:nvSpPr>
        <p:spPr>
          <a:xfrm>
            <a:off x="49286" y="27183"/>
            <a:ext cx="1965252" cy="588427"/>
          </a:xfrm>
          <a:prstGeom prst="roundRect">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solidFill>
            </a:endParaRPr>
          </a:p>
        </p:txBody>
      </p:sp>
      <p:sp>
        <p:nvSpPr>
          <p:cNvPr id="4" name="rect2">
            <a:hlinkClick r:id="rId3" action="ppaction://hlinksldjump"/>
            <a:extLst>
              <a:ext uri="{FF2B5EF4-FFF2-40B4-BE49-F238E27FC236}">
                <a16:creationId xmlns:a16="http://schemas.microsoft.com/office/drawing/2014/main" id="{9EC1935E-8384-762B-E303-D8A34E5475D9}"/>
              </a:ext>
            </a:extLst>
          </p:cNvPr>
          <p:cNvSpPr/>
          <p:nvPr userDrawn="1"/>
        </p:nvSpPr>
        <p:spPr>
          <a:xfrm>
            <a:off x="2076133" y="27183"/>
            <a:ext cx="1965252" cy="588427"/>
          </a:xfrm>
          <a:prstGeom prst="roundRect">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b="1" dirty="0">
                <a:solidFill>
                  <a:srgbClr val="8064A2"/>
                </a:solidFill>
              </a:rPr>
              <a:t>Create</a:t>
            </a:r>
          </a:p>
        </p:txBody>
      </p:sp>
      <p:sp>
        <p:nvSpPr>
          <p:cNvPr id="5" name="rect3">
            <a:hlinkClick r:id="rId4" action="ppaction://hlinksldjump"/>
            <a:extLst>
              <a:ext uri="{FF2B5EF4-FFF2-40B4-BE49-F238E27FC236}">
                <a16:creationId xmlns:a16="http://schemas.microsoft.com/office/drawing/2014/main" id="{DC5F23B7-FF51-FD3B-88ED-3388279DC957}"/>
              </a:ext>
            </a:extLst>
          </p:cNvPr>
          <p:cNvSpPr/>
          <p:nvPr userDrawn="1"/>
        </p:nvSpPr>
        <p:spPr>
          <a:xfrm>
            <a:off x="4102980" y="27183"/>
            <a:ext cx="1965252" cy="588427"/>
          </a:xfrm>
          <a:prstGeom prst="roundRect">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b="1" dirty="0">
                <a:solidFill>
                  <a:srgbClr val="8064A2"/>
                </a:solidFill>
              </a:rPr>
              <a:t>Convert</a:t>
            </a:r>
          </a:p>
        </p:txBody>
      </p:sp>
      <p:sp>
        <p:nvSpPr>
          <p:cNvPr id="6" name="rect4">
            <a:hlinkClick r:id="rId5" action="ppaction://hlinksldjump"/>
            <a:extLst>
              <a:ext uri="{FF2B5EF4-FFF2-40B4-BE49-F238E27FC236}">
                <a16:creationId xmlns:a16="http://schemas.microsoft.com/office/drawing/2014/main" id="{EFED535E-D63F-4CE2-1130-0C5F6B7F0463}"/>
              </a:ext>
            </a:extLst>
          </p:cNvPr>
          <p:cNvSpPr/>
          <p:nvPr userDrawn="1"/>
        </p:nvSpPr>
        <p:spPr>
          <a:xfrm>
            <a:off x="6129827" y="27183"/>
            <a:ext cx="1965252" cy="588427"/>
          </a:xfrm>
          <a:prstGeom prst="roundRect">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b="1" dirty="0">
                <a:solidFill>
                  <a:srgbClr val="8064A2"/>
                </a:solidFill>
              </a:rPr>
              <a:t>Publish</a:t>
            </a:r>
          </a:p>
        </p:txBody>
      </p:sp>
      <p:sp>
        <p:nvSpPr>
          <p:cNvPr id="7" name="rect5">
            <a:hlinkClick r:id="rId6" action="ppaction://hlinksldjump"/>
            <a:extLst>
              <a:ext uri="{FF2B5EF4-FFF2-40B4-BE49-F238E27FC236}">
                <a16:creationId xmlns:a16="http://schemas.microsoft.com/office/drawing/2014/main" id="{40D1D5F7-9B27-1865-6A40-6813C1ABD8F2}"/>
              </a:ext>
            </a:extLst>
          </p:cNvPr>
          <p:cNvSpPr/>
          <p:nvPr userDrawn="1"/>
        </p:nvSpPr>
        <p:spPr>
          <a:xfrm>
            <a:off x="8156674" y="27183"/>
            <a:ext cx="1965252" cy="588427"/>
          </a:xfrm>
          <a:prstGeom prst="roundRect">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b="1" dirty="0">
                <a:solidFill>
                  <a:srgbClr val="8064A2"/>
                </a:solidFill>
              </a:rPr>
              <a:t>Roadmap</a:t>
            </a:r>
          </a:p>
        </p:txBody>
      </p:sp>
      <p:sp>
        <p:nvSpPr>
          <p:cNvPr id="8" name="rect6">
            <a:hlinkClick r:id="rId7" action="ppaction://hlinksldjump"/>
            <a:extLst>
              <a:ext uri="{FF2B5EF4-FFF2-40B4-BE49-F238E27FC236}">
                <a16:creationId xmlns:a16="http://schemas.microsoft.com/office/drawing/2014/main" id="{293C4B53-6DC3-AAC2-000D-73FDD7FFD076}"/>
              </a:ext>
            </a:extLst>
          </p:cNvPr>
          <p:cNvSpPr/>
          <p:nvPr userDrawn="1"/>
        </p:nvSpPr>
        <p:spPr>
          <a:xfrm>
            <a:off x="10183522" y="27183"/>
            <a:ext cx="1965252" cy="588427"/>
          </a:xfrm>
          <a:prstGeom prst="roundRect">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b="1" dirty="0">
                <a:solidFill>
                  <a:schemeClr val="accent4"/>
                </a:solidFill>
              </a:rPr>
              <a:t>Options</a:t>
            </a:r>
          </a:p>
        </p:txBody>
      </p:sp>
      <p:pic>
        <p:nvPicPr>
          <p:cNvPr id="24" name="imgGitHub" descr="What is GitHub?">
            <a:hlinkClick r:id="rId8" tooltip="Multimodal Slides GitHub Repository"/>
            <a:extLst>
              <a:ext uri="{FF2B5EF4-FFF2-40B4-BE49-F238E27FC236}">
                <a16:creationId xmlns:a16="http://schemas.microsoft.com/office/drawing/2014/main" id="{830934DD-D55F-0ABC-40B3-0C54ACF85334}"/>
              </a:ext>
            </a:extLst>
          </p:cNvPr>
          <p:cNvPicPr>
            <a:picLocks noChangeAspect="1" noChangeArrowheads="1"/>
          </p:cNvPicPr>
          <p:nvPr userDrawn="1"/>
        </p:nvPicPr>
        <p:blipFill rotWithShape="1">
          <a:blip r:embed="rId9">
            <a:extLst>
              <a:ext uri="{28A0092B-C50C-407E-A947-70E740481C1C}">
                <a14:useLocalDpi xmlns:a14="http://schemas.microsoft.com/office/drawing/2010/main" val="0"/>
              </a:ext>
            </a:extLst>
          </a:blip>
          <a:srcRect l="20228" r="20489"/>
          <a:stretch/>
        </p:blipFill>
        <p:spPr bwMode="auto">
          <a:xfrm>
            <a:off x="6681341" y="6326229"/>
            <a:ext cx="458966" cy="452263"/>
          </a:xfrm>
          <a:prstGeom prst="rect">
            <a:avLst/>
          </a:prstGeom>
          <a:noFill/>
          <a:extLst>
            <a:ext uri="{909E8E84-426E-40DD-AFC4-6F175D3DCCD1}">
              <a14:hiddenFill xmlns:a14="http://schemas.microsoft.com/office/drawing/2010/main">
                <a:solidFill>
                  <a:srgbClr val="FFFFFF"/>
                </a:solidFill>
              </a14:hiddenFill>
            </a:ext>
          </a:extLst>
        </p:spPr>
      </p:pic>
      <p:pic>
        <p:nvPicPr>
          <p:cNvPr id="26" name="imgYouTube" descr="YouTube Logo PNG Transparent Images">
            <a:hlinkClick r:id="rId10" tooltip="Multimodal Slides YouTube Channel"/>
            <a:extLst>
              <a:ext uri="{FF2B5EF4-FFF2-40B4-BE49-F238E27FC236}">
                <a16:creationId xmlns:a16="http://schemas.microsoft.com/office/drawing/2014/main" id="{F3776BA6-A264-D869-C5E9-003EE7D3FA42}"/>
              </a:ext>
            </a:extLst>
          </p:cNvPr>
          <p:cNvPicPr>
            <a:picLocks noChangeAspect="1" noChangeArrowheads="1"/>
          </p:cNvPicPr>
          <p:nvPr userDrawn="1"/>
        </p:nvPicPr>
        <p:blipFill rotWithShape="1">
          <a:blip r:embed="rId11">
            <a:extLst>
              <a:ext uri="{28A0092B-C50C-407E-A947-70E740481C1C}">
                <a14:useLocalDpi xmlns:a14="http://schemas.microsoft.com/office/drawing/2010/main" val="0"/>
              </a:ext>
            </a:extLst>
          </a:blip>
          <a:srcRect l="7311" t="17061" r="7235" b="17576"/>
          <a:stretch/>
        </p:blipFill>
        <p:spPr bwMode="auto">
          <a:xfrm>
            <a:off x="4952567" y="6371468"/>
            <a:ext cx="532942" cy="407646"/>
          </a:xfrm>
          <a:prstGeom prst="rect">
            <a:avLst/>
          </a:prstGeom>
          <a:noFill/>
          <a:extLst>
            <a:ext uri="{909E8E84-426E-40DD-AFC4-6F175D3DCCD1}">
              <a14:hiddenFill xmlns:a14="http://schemas.microsoft.com/office/drawing/2010/main">
                <a:solidFill>
                  <a:srgbClr val="FFFFFF"/>
                </a:solidFill>
              </a14:hiddenFill>
            </a:ext>
          </a:extLst>
        </p:spPr>
      </p:pic>
      <p:pic>
        <p:nvPicPr>
          <p:cNvPr id="29" name="imgMultimodalSlides" descr="A close up of a sign&#10;&#10;Description automatically generated">
            <a:hlinkClick r:id="rId12" tooltip="Goto MultimodalSlides.com"/>
            <a:extLst>
              <a:ext uri="{FF2B5EF4-FFF2-40B4-BE49-F238E27FC236}">
                <a16:creationId xmlns:a16="http://schemas.microsoft.com/office/drawing/2014/main" id="{A58712AD-1EE2-BE97-5300-B37AF23A992B}"/>
              </a:ext>
            </a:extLst>
          </p:cNvPr>
          <p:cNvPicPr>
            <a:picLocks noChangeAspect="1"/>
          </p:cNvPicPr>
          <p:nvPr userDrawn="1"/>
        </p:nvPicPr>
        <p:blipFill>
          <a:blip r:embed="rId13"/>
          <a:srcRect t="2969" r="4416" b="25341"/>
          <a:stretch/>
        </p:blipFill>
        <p:spPr>
          <a:xfrm>
            <a:off x="10783033" y="6340548"/>
            <a:ext cx="1272826" cy="423627"/>
          </a:xfrm>
          <a:prstGeom prst="rect">
            <a:avLst/>
          </a:prstGeom>
        </p:spPr>
      </p:pic>
      <p:sp>
        <p:nvSpPr>
          <p:cNvPr id="30" name="rectMultimodalSlides">
            <a:extLst>
              <a:ext uri="{FF2B5EF4-FFF2-40B4-BE49-F238E27FC236}">
                <a16:creationId xmlns:a16="http://schemas.microsoft.com/office/drawing/2014/main" id="{49AE4AD1-471A-B867-CCF2-28D3A1FEB27B}"/>
              </a:ext>
            </a:extLst>
          </p:cNvPr>
          <p:cNvSpPr/>
          <p:nvPr userDrawn="1"/>
        </p:nvSpPr>
        <p:spPr>
          <a:xfrm>
            <a:off x="9554563" y="6331326"/>
            <a:ext cx="2461502" cy="44610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l"/>
            <a:r>
              <a:rPr lang="en-US" sz="1600" b="1" dirty="0">
                <a:solidFill>
                  <a:schemeClr val="bg1"/>
                </a:solidFill>
              </a:rPr>
              <a:t>Created with</a:t>
            </a:r>
          </a:p>
        </p:txBody>
      </p:sp>
      <p:sp>
        <p:nvSpPr>
          <p:cNvPr id="31" name="rectEmail">
            <a:extLst>
              <a:ext uri="{FF2B5EF4-FFF2-40B4-BE49-F238E27FC236}">
                <a16:creationId xmlns:a16="http://schemas.microsoft.com/office/drawing/2014/main" id="{ADC89931-5F38-9B5E-F338-7A8B9AA25C83}"/>
              </a:ext>
            </a:extLst>
          </p:cNvPr>
          <p:cNvSpPr/>
          <p:nvPr userDrawn="1"/>
        </p:nvSpPr>
        <p:spPr>
          <a:xfrm>
            <a:off x="49286" y="6390385"/>
            <a:ext cx="2651656" cy="37768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l"/>
            <a:r>
              <a:rPr lang="en-US" sz="1600" dirty="0">
                <a:solidFill>
                  <a:schemeClr val="bg1"/>
                </a:solidFill>
                <a:hlinkClick r:id="rId14" tooltip="Email Me">
                  <a:extLst>
                    <a:ext uri="{A12FA001-AC4F-418D-AE19-62706E023703}">
                      <ahyp:hlinkClr xmlns:ahyp="http://schemas.microsoft.com/office/drawing/2018/hyperlinkcolor" val="tx"/>
                    </a:ext>
                  </a:extLst>
                </a:hlinkClick>
              </a:rPr>
              <a:t>John@MultimodalSlides.com</a:t>
            </a:r>
            <a:r>
              <a:rPr lang="en-US" sz="1600" dirty="0">
                <a:solidFill>
                  <a:schemeClr val="bg1"/>
                </a:solidFill>
              </a:rPr>
              <a:t> </a:t>
            </a:r>
          </a:p>
        </p:txBody>
      </p:sp>
      <p:pic>
        <p:nvPicPr>
          <p:cNvPr id="37" name="imgJohnBaluka" descr="A close up of a logo&#10;&#10;Description automatically generated">
            <a:hlinkClick r:id="rId15" tooltip="Goto JohnBaluka.com"/>
            <a:extLst>
              <a:ext uri="{FF2B5EF4-FFF2-40B4-BE49-F238E27FC236}">
                <a16:creationId xmlns:a16="http://schemas.microsoft.com/office/drawing/2014/main" id="{206A8BDA-B58E-DD61-744B-9D6F6D4CF9E4}"/>
              </a:ext>
            </a:extLst>
          </p:cNvPr>
          <p:cNvPicPr>
            <a:picLocks noChangeAspect="1"/>
          </p:cNvPicPr>
          <p:nvPr userDrawn="1"/>
        </p:nvPicPr>
        <p:blipFill>
          <a:blip r:embed="rId16"/>
          <a:srcRect l="2500" t="849" r="2249" b="-7160"/>
          <a:stretch/>
        </p:blipFill>
        <p:spPr>
          <a:xfrm>
            <a:off x="3006814" y="6341967"/>
            <a:ext cx="1509270" cy="488850"/>
          </a:xfrm>
          <a:prstGeom prst="rect">
            <a:avLst/>
          </a:prstGeom>
        </p:spPr>
      </p:pic>
      <p:pic>
        <p:nvPicPr>
          <p:cNvPr id="9" name="imgMultimodalSlidesTop" descr="A close up of a sign&#10;&#10;Description automatically generated">
            <a:hlinkClick r:id="rId2" action="ppaction://hlinksldjump"/>
            <a:extLst>
              <a:ext uri="{FF2B5EF4-FFF2-40B4-BE49-F238E27FC236}">
                <a16:creationId xmlns:a16="http://schemas.microsoft.com/office/drawing/2014/main" id="{FFE9E454-6C56-81C7-429C-69E6AF73FB27}"/>
              </a:ext>
            </a:extLst>
          </p:cNvPr>
          <p:cNvPicPr>
            <a:picLocks noChangeAspect="1"/>
          </p:cNvPicPr>
          <p:nvPr userDrawn="1"/>
        </p:nvPicPr>
        <p:blipFill>
          <a:blip r:embed="rId13"/>
          <a:srcRect l="1664" t="8776" r="8800" b="32974"/>
          <a:stretch/>
        </p:blipFill>
        <p:spPr>
          <a:xfrm>
            <a:off x="116993" y="58689"/>
            <a:ext cx="1793981" cy="517914"/>
          </a:xfrm>
          <a:prstGeom prst="rect">
            <a:avLst/>
          </a:prstGeom>
        </p:spPr>
      </p:pic>
      <p:pic>
        <p:nvPicPr>
          <p:cNvPr id="15" name="imgPowerPoint" descr="Download Powerpoint, Powerpoint Logo, Icon. Royalty-Free Stock Illustration  Image - Pixabay">
            <a:hlinkClick r:id="rId17" tooltip="Download the Source PowerPoint for this Site"/>
            <a:extLst>
              <a:ext uri="{FF2B5EF4-FFF2-40B4-BE49-F238E27FC236}">
                <a16:creationId xmlns:a16="http://schemas.microsoft.com/office/drawing/2014/main" id="{342B171B-7030-F286-2361-8138B25335A7}"/>
              </a:ext>
            </a:extLst>
          </p:cNvPr>
          <p:cNvPicPr>
            <a:picLocks noChangeAspect="1" noChangeArrowheads="1"/>
          </p:cNvPicPr>
          <p:nvPr userDrawn="1"/>
        </p:nvPicPr>
        <p:blipFill rotWithShape="1">
          <a:blip r:embed="rId18">
            <a:extLst>
              <a:ext uri="{28A0092B-C50C-407E-A947-70E740481C1C}">
                <a14:useLocalDpi xmlns:a14="http://schemas.microsoft.com/office/drawing/2010/main" val="0"/>
              </a:ext>
            </a:extLst>
          </a:blip>
          <a:srcRect l="27772" t="12921" r="28937" b="13855"/>
          <a:stretch/>
        </p:blipFill>
        <p:spPr bwMode="auto">
          <a:xfrm>
            <a:off x="6166986" y="6342124"/>
            <a:ext cx="468424" cy="445670"/>
          </a:xfrm>
          <a:prstGeom prst="rect">
            <a:avLst/>
          </a:prstGeom>
          <a:noFill/>
          <a:extLst>
            <a:ext uri="{909E8E84-426E-40DD-AFC4-6F175D3DCCD1}">
              <a14:hiddenFill xmlns:a14="http://schemas.microsoft.com/office/drawing/2010/main">
                <a:solidFill>
                  <a:srgbClr val="FFFFFF"/>
                </a:solidFill>
              </a14:hiddenFill>
            </a:ext>
          </a:extLst>
        </p:spPr>
      </p:pic>
      <p:pic>
        <p:nvPicPr>
          <p:cNvPr id="16" name="imgPDF" descr="adobe-pdf-icon-logo-png-transparent - BioChek, A Hygiena® Company">
            <a:hlinkClick r:id="rId19" tooltip="Download a PDF of this Site"/>
            <a:extLst>
              <a:ext uri="{FF2B5EF4-FFF2-40B4-BE49-F238E27FC236}">
                <a16:creationId xmlns:a16="http://schemas.microsoft.com/office/drawing/2014/main" id="{D85A5F8D-8E47-5FC6-988B-1A5575B28407}"/>
              </a:ext>
            </a:extLst>
          </p:cNvPr>
          <p:cNvPicPr>
            <a:picLocks noChangeAspect="1" noChangeArrowheads="1"/>
          </p:cNvPicPr>
          <p:nvPr userDrawn="1"/>
        </p:nvPicPr>
        <p:blipFill>
          <a:blip r:embed="rId20">
            <a:extLst>
              <a:ext uri="{28A0092B-C50C-407E-A947-70E740481C1C}">
                <a14:useLocalDpi xmlns:a14="http://schemas.microsoft.com/office/drawing/2010/main" val="0"/>
              </a:ext>
            </a:extLst>
          </a:blip>
          <a:srcRect/>
          <a:stretch>
            <a:fillRect/>
          </a:stretch>
        </p:blipFill>
        <p:spPr bwMode="auto">
          <a:xfrm>
            <a:off x="5597892" y="6336656"/>
            <a:ext cx="429103" cy="4511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0596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artial Content Area">
    <p:spTree>
      <p:nvGrpSpPr>
        <p:cNvPr id="1" name=""/>
        <p:cNvGrpSpPr/>
        <p:nvPr/>
      </p:nvGrpSpPr>
      <p:grpSpPr>
        <a:xfrm>
          <a:off x="0" y="0"/>
          <a:ext cx="0" cy="0"/>
          <a:chOff x="0" y="0"/>
          <a:chExt cx="0" cy="0"/>
        </a:xfrm>
      </p:grpSpPr>
      <p:sp>
        <p:nvSpPr>
          <p:cNvPr id="4" name="ContentPlaceholder"/>
          <p:cNvSpPr>
            <a:spLocks noGrp="1"/>
          </p:cNvSpPr>
          <p:nvPr>
            <p:ph sz="half" idx="2" hasCustomPrompt="1"/>
          </p:nvPr>
        </p:nvSpPr>
        <p:spPr>
          <a:xfrm>
            <a:off x="1530350" y="1235785"/>
            <a:ext cx="9137650" cy="4936416"/>
          </a:xfrm>
        </p:spPr>
        <p:txBody>
          <a:bodyPr/>
          <a:lstStyle>
            <a:lvl1pPr>
              <a:defRPr/>
            </a:lvl1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Placeholder"/>
          <p:cNvSpPr>
            <a:spLocks noGrp="1"/>
          </p:cNvSpPr>
          <p:nvPr>
            <p:ph type="title" hasCustomPrompt="1"/>
          </p:nvPr>
        </p:nvSpPr>
        <p:spPr>
          <a:xfrm>
            <a:off x="0" y="0"/>
            <a:ext cx="12191998" cy="642796"/>
          </a:xfrm>
          <a:solidFill>
            <a:srgbClr val="8064A2"/>
          </a:solidFill>
        </p:spPr>
        <p:txBody>
          <a:bodyPr>
            <a:normAutofit/>
          </a:bodyPr>
          <a:lstStyle>
            <a:lvl1pPr>
              <a:defRPr sz="3200">
                <a:solidFill>
                  <a:schemeClr val="bg1"/>
                </a:solidFill>
              </a:defRPr>
            </a:lvl1pPr>
          </a:lstStyle>
          <a:p>
            <a:r>
              <a:rPr lang="en-US" dirty="0"/>
              <a:t>{Title Here}</a:t>
            </a:r>
          </a:p>
        </p:txBody>
      </p:sp>
      <p:sp>
        <p:nvSpPr>
          <p:cNvPr id="11" name="SubTitleTextPlaceholder">
            <a:extLst>
              <a:ext uri="{FF2B5EF4-FFF2-40B4-BE49-F238E27FC236}">
                <a16:creationId xmlns:a16="http://schemas.microsoft.com/office/drawing/2014/main" id="{77754306-9C7B-481E-AA2C-3690CA5977F6}"/>
              </a:ext>
            </a:extLst>
          </p:cNvPr>
          <p:cNvSpPr>
            <a:spLocks noGrp="1"/>
          </p:cNvSpPr>
          <p:nvPr>
            <p:ph type="body" sz="quarter" idx="13" hasCustomPrompt="1"/>
          </p:nvPr>
        </p:nvSpPr>
        <p:spPr>
          <a:xfrm>
            <a:off x="0" y="653523"/>
            <a:ext cx="12191999" cy="558314"/>
          </a:xfrm>
          <a:solidFill>
            <a:srgbClr val="8064A2"/>
          </a:solidFill>
        </p:spPr>
        <p:txBody>
          <a:bodyPr>
            <a:normAutofit/>
          </a:bodyPr>
          <a:lstStyle>
            <a:lvl1pPr marL="0" indent="0" algn="ctr">
              <a:buNone/>
              <a:defRPr sz="3600" b="1">
                <a:solidFill>
                  <a:schemeClr val="bg1"/>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a:t>{Sub Title Here}</a:t>
            </a:r>
          </a:p>
        </p:txBody>
      </p:sp>
      <p:sp>
        <p:nvSpPr>
          <p:cNvPr id="5" name="SectionNameTextPlaceholder">
            <a:extLst>
              <a:ext uri="{FF2B5EF4-FFF2-40B4-BE49-F238E27FC236}">
                <a16:creationId xmlns:a16="http://schemas.microsoft.com/office/drawing/2014/main" id="{516CE277-7762-F736-F0CB-07FA0B937FA7}"/>
              </a:ext>
            </a:extLst>
          </p:cNvPr>
          <p:cNvSpPr>
            <a:spLocks noGrp="1"/>
          </p:cNvSpPr>
          <p:nvPr>
            <p:ph type="body" sz="quarter" idx="3" hasCustomPrompt="1"/>
          </p:nvPr>
        </p:nvSpPr>
        <p:spPr>
          <a:xfrm>
            <a:off x="8822575" y="0"/>
            <a:ext cx="3369430" cy="346938"/>
          </a:xfrm>
        </p:spPr>
        <p:txBody>
          <a:bodyPr anchor="b">
            <a:normAutofit/>
          </a:bodyPr>
          <a:lstStyle>
            <a:lvl1pPr marL="0" indent="0" algn="r">
              <a:buNone/>
              <a:defRPr sz="1600" b="0">
                <a:solidFill>
                  <a:schemeClr val="bg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Section Name Here}</a:t>
            </a:r>
          </a:p>
        </p:txBody>
      </p:sp>
      <p:sp>
        <p:nvSpPr>
          <p:cNvPr id="14" name="FooterPlaceholder">
            <a:extLst>
              <a:ext uri="{FF2B5EF4-FFF2-40B4-BE49-F238E27FC236}">
                <a16:creationId xmlns:a16="http://schemas.microsoft.com/office/drawing/2014/main" id="{56B7310F-BE20-F677-6553-57F337AB1CE8}"/>
              </a:ext>
            </a:extLst>
          </p:cNvPr>
          <p:cNvSpPr>
            <a:spLocks noGrp="1"/>
          </p:cNvSpPr>
          <p:nvPr>
            <p:ph type="ftr" sz="quarter" idx="11"/>
          </p:nvPr>
        </p:nvSpPr>
        <p:spPr>
          <a:xfrm>
            <a:off x="8650013" y="6536602"/>
            <a:ext cx="2932387" cy="313241"/>
          </a:xfrm>
        </p:spPr>
        <p:txBody>
          <a:bodyPr/>
          <a:lstStyle>
            <a:lvl1pPr algn="ctr">
              <a:defRPr>
                <a:solidFill>
                  <a:schemeClr val="accent1"/>
                </a:solidFill>
              </a:defRPr>
            </a:lvl1pPr>
          </a:lstStyle>
          <a:p>
            <a:endParaRPr lang="en-US" dirty="0"/>
          </a:p>
        </p:txBody>
      </p:sp>
      <p:sp>
        <p:nvSpPr>
          <p:cNvPr id="15" name="SlideNumberPlaceholder">
            <a:extLst>
              <a:ext uri="{FF2B5EF4-FFF2-40B4-BE49-F238E27FC236}">
                <a16:creationId xmlns:a16="http://schemas.microsoft.com/office/drawing/2014/main" id="{FC1B1E96-1DC6-097E-9C37-4A1579E4786D}"/>
              </a:ext>
            </a:extLst>
          </p:cNvPr>
          <p:cNvSpPr>
            <a:spLocks noGrp="1"/>
          </p:cNvSpPr>
          <p:nvPr>
            <p:ph type="sldNum" sz="quarter" idx="12"/>
          </p:nvPr>
        </p:nvSpPr>
        <p:spPr>
          <a:xfrm>
            <a:off x="11582400" y="6536601"/>
            <a:ext cx="535709" cy="313242"/>
          </a:xfrm>
        </p:spPr>
        <p:txBody>
          <a:bodyPr/>
          <a:lstStyle>
            <a:lvl1pPr>
              <a:defRPr>
                <a:solidFill>
                  <a:schemeClr val="accent1"/>
                </a:solidFill>
              </a:defRPr>
            </a:lvl1pPr>
          </a:lstStyle>
          <a:p>
            <a:fld id="{E492D9C9-D102-485F-849A-B515010D78AF}" type="slidenum">
              <a:rPr lang="en-US" smtClean="0"/>
              <a:pPr/>
              <a:t>‹#›</a:t>
            </a:fld>
            <a:endParaRPr lang="en-US" dirty="0"/>
          </a:p>
        </p:txBody>
      </p:sp>
      <p:sp>
        <p:nvSpPr>
          <p:cNvPr id="16" name="ReferenceTextPlaceholder">
            <a:extLst>
              <a:ext uri="{FF2B5EF4-FFF2-40B4-BE49-F238E27FC236}">
                <a16:creationId xmlns:a16="http://schemas.microsoft.com/office/drawing/2014/main" id="{0B519A30-4E00-E2DB-587A-938B59BA53E5}"/>
              </a:ext>
            </a:extLst>
          </p:cNvPr>
          <p:cNvSpPr>
            <a:spLocks noGrp="1"/>
          </p:cNvSpPr>
          <p:nvPr>
            <p:ph type="body" sz="quarter" idx="20" hasCustomPrompt="1"/>
          </p:nvPr>
        </p:nvSpPr>
        <p:spPr>
          <a:xfrm>
            <a:off x="64654" y="6536601"/>
            <a:ext cx="8585359" cy="315158"/>
          </a:xfrm>
        </p:spPr>
        <p:txBody>
          <a:bodyPr anchor="b">
            <a:normAutofit/>
          </a:bodyPr>
          <a:lstStyle>
            <a:lvl1pPr marL="0" indent="0" algn="l">
              <a:buNone/>
              <a:defRPr sz="1600" b="0">
                <a:solidFill>
                  <a:schemeClr val="accent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Reference Text Here}</a:t>
            </a:r>
          </a:p>
        </p:txBody>
      </p:sp>
    </p:spTree>
    <p:extLst>
      <p:ext uri="{BB962C8B-B14F-4D97-AF65-F5344CB8AC3E}">
        <p14:creationId xmlns:p14="http://schemas.microsoft.com/office/powerpoint/2010/main" val="391893947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Areas">
    <p:spTree>
      <p:nvGrpSpPr>
        <p:cNvPr id="1" name=""/>
        <p:cNvGrpSpPr/>
        <p:nvPr/>
      </p:nvGrpSpPr>
      <p:grpSpPr>
        <a:xfrm>
          <a:off x="0" y="0"/>
          <a:ext cx="0" cy="0"/>
          <a:chOff x="0" y="0"/>
          <a:chExt cx="0" cy="0"/>
        </a:xfrm>
      </p:grpSpPr>
      <p:sp>
        <p:nvSpPr>
          <p:cNvPr id="14" name="ReferenceTextPlaceholder2">
            <a:extLst>
              <a:ext uri="{FF2B5EF4-FFF2-40B4-BE49-F238E27FC236}">
                <a16:creationId xmlns:a16="http://schemas.microsoft.com/office/drawing/2014/main" id="{71F8A726-853A-4BAA-A7AE-44610E0FC414}"/>
              </a:ext>
            </a:extLst>
          </p:cNvPr>
          <p:cNvSpPr>
            <a:spLocks noGrp="1"/>
          </p:cNvSpPr>
          <p:nvPr>
            <p:ph type="body" sz="quarter" idx="18" hasCustomPrompt="1"/>
          </p:nvPr>
        </p:nvSpPr>
        <p:spPr>
          <a:xfrm>
            <a:off x="6167580" y="6200050"/>
            <a:ext cx="5955146" cy="289649"/>
          </a:xfrm>
        </p:spPr>
        <p:txBody>
          <a:bodyPr anchor="b">
            <a:normAutofit/>
          </a:bodyPr>
          <a:lstStyle>
            <a:lvl1pPr marL="0" indent="0" algn="r">
              <a:buNone/>
              <a:defRPr sz="1600" b="0">
                <a:solidFill>
                  <a:schemeClr val="bg2">
                    <a:lumMod val="25000"/>
                  </a:schemeClr>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Reference 2 Text Here}</a:t>
            </a:r>
          </a:p>
        </p:txBody>
      </p:sp>
      <p:sp>
        <p:nvSpPr>
          <p:cNvPr id="11" name="ContentPlaceholder2"/>
          <p:cNvSpPr>
            <a:spLocks noGrp="1"/>
          </p:cNvSpPr>
          <p:nvPr>
            <p:ph sz="half" idx="13" hasCustomPrompt="1"/>
          </p:nvPr>
        </p:nvSpPr>
        <p:spPr>
          <a:xfrm>
            <a:off x="6172199" y="1146325"/>
            <a:ext cx="5945909" cy="5032226"/>
          </a:xfrm>
        </p:spPr>
        <p:txBody>
          <a:bodyPr/>
          <a:lstStyle>
            <a:lvl1pPr>
              <a:defRPr/>
            </a:lvl1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GuideRectangle2" hidden="1"/>
          <p:cNvSpPr/>
          <p:nvPr userDrawn="1"/>
        </p:nvSpPr>
        <p:spPr>
          <a:xfrm>
            <a:off x="6172200" y="1155243"/>
            <a:ext cx="5950526" cy="5023308"/>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HeaderTextPlaceholder2"/>
          <p:cNvSpPr>
            <a:spLocks noGrp="1"/>
          </p:cNvSpPr>
          <p:nvPr>
            <p:ph type="body" sz="quarter" idx="17" hasCustomPrompt="1"/>
          </p:nvPr>
        </p:nvSpPr>
        <p:spPr>
          <a:xfrm>
            <a:off x="6167580" y="561258"/>
            <a:ext cx="5945908" cy="538164"/>
          </a:xfrm>
          <a:solidFill>
            <a:srgbClr val="8064A2"/>
          </a:solidFill>
          <a:ln>
            <a:noFill/>
          </a:ln>
        </p:spPr>
        <p:style>
          <a:lnRef idx="0">
            <a:scrgbClr r="0" g="0" b="0"/>
          </a:lnRef>
          <a:fillRef idx="0">
            <a:scrgbClr r="0" g="0" b="0"/>
          </a:fillRef>
          <a:effectRef idx="0">
            <a:scrgbClr r="0" g="0" b="0"/>
          </a:effectRef>
          <a:fontRef idx="minor">
            <a:schemeClr val="lt1"/>
          </a:fontRef>
        </p:style>
        <p:txBody>
          <a:bodyPr/>
          <a:lstStyle>
            <a:lvl1pPr marL="0" indent="0" algn="l">
              <a:buNone/>
              <a:defRPr/>
            </a:lvl1pPr>
          </a:lstStyle>
          <a:p>
            <a:pPr lvl="0"/>
            <a:r>
              <a:rPr lang="en-US" dirty="0"/>
              <a:t>{Header 2 Here}</a:t>
            </a:r>
          </a:p>
        </p:txBody>
      </p:sp>
      <p:sp>
        <p:nvSpPr>
          <p:cNvPr id="7" name="ReferenceTextPlaceholder1"/>
          <p:cNvSpPr>
            <a:spLocks noGrp="1"/>
          </p:cNvSpPr>
          <p:nvPr>
            <p:ph type="body" sz="quarter" idx="3" hasCustomPrompt="1"/>
          </p:nvPr>
        </p:nvSpPr>
        <p:spPr>
          <a:xfrm>
            <a:off x="64654" y="6200051"/>
            <a:ext cx="5955146" cy="289649"/>
          </a:xfrm>
        </p:spPr>
        <p:txBody>
          <a:bodyPr anchor="b">
            <a:normAutofit/>
          </a:bodyPr>
          <a:lstStyle>
            <a:lvl1pPr marL="0" indent="0" algn="l">
              <a:buNone/>
              <a:defRPr sz="1600" b="0">
                <a:solidFill>
                  <a:schemeClr val="bg2">
                    <a:lumMod val="25000"/>
                  </a:schemeClr>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Reference 1 Text Here}</a:t>
            </a:r>
          </a:p>
        </p:txBody>
      </p:sp>
      <p:sp>
        <p:nvSpPr>
          <p:cNvPr id="4" name="ContentPlaceholder1"/>
          <p:cNvSpPr>
            <a:spLocks noGrp="1"/>
          </p:cNvSpPr>
          <p:nvPr>
            <p:ph sz="half" idx="2" hasCustomPrompt="1"/>
          </p:nvPr>
        </p:nvSpPr>
        <p:spPr>
          <a:xfrm>
            <a:off x="64654" y="1146331"/>
            <a:ext cx="5955146" cy="5032220"/>
          </a:xfrm>
        </p:spPr>
        <p:txBody>
          <a:bodyPr/>
          <a:lstStyle>
            <a:lvl1pPr>
              <a:defRPr/>
            </a:lvl1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GuideRectangle1" hidden="1"/>
          <p:cNvSpPr/>
          <p:nvPr userDrawn="1"/>
        </p:nvSpPr>
        <p:spPr>
          <a:xfrm>
            <a:off x="60036" y="1155243"/>
            <a:ext cx="5959764" cy="5023308"/>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HeaderTextPlaceholder1"/>
          <p:cNvSpPr>
            <a:spLocks noGrp="1"/>
          </p:cNvSpPr>
          <p:nvPr>
            <p:ph type="body" sz="quarter" idx="16" hasCustomPrompt="1"/>
          </p:nvPr>
        </p:nvSpPr>
        <p:spPr>
          <a:xfrm>
            <a:off x="64654" y="561258"/>
            <a:ext cx="5955146" cy="538164"/>
          </a:xfrm>
          <a:solidFill>
            <a:srgbClr val="8064A2"/>
          </a:solidFill>
          <a:ln>
            <a:noFill/>
          </a:ln>
        </p:spPr>
        <p:style>
          <a:lnRef idx="0">
            <a:scrgbClr r="0" g="0" b="0"/>
          </a:lnRef>
          <a:fillRef idx="0">
            <a:scrgbClr r="0" g="0" b="0"/>
          </a:fillRef>
          <a:effectRef idx="0">
            <a:scrgbClr r="0" g="0" b="0"/>
          </a:effectRef>
          <a:fontRef idx="minor">
            <a:schemeClr val="lt1"/>
          </a:fontRef>
        </p:style>
        <p:txBody>
          <a:bodyPr/>
          <a:lstStyle>
            <a:lvl1pPr marL="0" indent="0" algn="r">
              <a:buNone/>
              <a:defRPr/>
            </a:lvl1pPr>
          </a:lstStyle>
          <a:p>
            <a:pPr lvl="0"/>
            <a:r>
              <a:rPr lang="en-US" dirty="0"/>
              <a:t>{Header 1 Here}</a:t>
            </a:r>
          </a:p>
        </p:txBody>
      </p:sp>
      <p:sp>
        <p:nvSpPr>
          <p:cNvPr id="10" name="TitlePlaceholder"/>
          <p:cNvSpPr>
            <a:spLocks noGrp="1"/>
          </p:cNvSpPr>
          <p:nvPr>
            <p:ph type="title" hasCustomPrompt="1"/>
          </p:nvPr>
        </p:nvSpPr>
        <p:spPr>
          <a:xfrm>
            <a:off x="-1" y="0"/>
            <a:ext cx="12191995" cy="514350"/>
          </a:xfrm>
          <a:solidFill>
            <a:srgbClr val="8064A2"/>
          </a:solidFill>
        </p:spPr>
        <p:txBody>
          <a:bodyPr>
            <a:normAutofit/>
          </a:bodyPr>
          <a:lstStyle>
            <a:lvl1pPr algn="l">
              <a:defRPr sz="3200">
                <a:solidFill>
                  <a:schemeClr val="bg1"/>
                </a:solidFill>
              </a:defRPr>
            </a:lvl1pPr>
          </a:lstStyle>
          <a:p>
            <a:r>
              <a:rPr lang="en-US" dirty="0"/>
              <a:t>{Title Here}</a:t>
            </a:r>
          </a:p>
        </p:txBody>
      </p:sp>
      <p:sp>
        <p:nvSpPr>
          <p:cNvPr id="2" name="SectionNameTextPlaceholder">
            <a:extLst>
              <a:ext uri="{FF2B5EF4-FFF2-40B4-BE49-F238E27FC236}">
                <a16:creationId xmlns:a16="http://schemas.microsoft.com/office/drawing/2014/main" id="{CB1796A6-64F0-400C-9005-9A336C944C43}"/>
              </a:ext>
            </a:extLst>
          </p:cNvPr>
          <p:cNvSpPr>
            <a:spLocks noGrp="1"/>
          </p:cNvSpPr>
          <p:nvPr>
            <p:ph type="body" sz="quarter" idx="19" hasCustomPrompt="1"/>
          </p:nvPr>
        </p:nvSpPr>
        <p:spPr>
          <a:xfrm>
            <a:off x="8822575" y="0"/>
            <a:ext cx="3369430" cy="346938"/>
          </a:xfrm>
        </p:spPr>
        <p:txBody>
          <a:bodyPr anchor="b">
            <a:normAutofit/>
          </a:bodyPr>
          <a:lstStyle>
            <a:lvl1pPr marL="0" indent="0" algn="r">
              <a:buNone/>
              <a:defRPr sz="1600" b="0">
                <a:solidFill>
                  <a:schemeClr val="bg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Section Name Here}</a:t>
            </a:r>
          </a:p>
        </p:txBody>
      </p:sp>
      <p:sp>
        <p:nvSpPr>
          <p:cNvPr id="19" name="FooterPlaceholder">
            <a:extLst>
              <a:ext uri="{FF2B5EF4-FFF2-40B4-BE49-F238E27FC236}">
                <a16:creationId xmlns:a16="http://schemas.microsoft.com/office/drawing/2014/main" id="{F1E8B752-6F84-360D-5D01-36E37A165E26}"/>
              </a:ext>
            </a:extLst>
          </p:cNvPr>
          <p:cNvSpPr>
            <a:spLocks noGrp="1"/>
          </p:cNvSpPr>
          <p:nvPr>
            <p:ph type="ftr" sz="quarter" idx="11"/>
          </p:nvPr>
        </p:nvSpPr>
        <p:spPr>
          <a:xfrm>
            <a:off x="8650013" y="6536602"/>
            <a:ext cx="2932387" cy="313241"/>
          </a:xfrm>
        </p:spPr>
        <p:txBody>
          <a:bodyPr/>
          <a:lstStyle>
            <a:lvl1pPr algn="ctr">
              <a:defRPr>
                <a:solidFill>
                  <a:schemeClr val="accent1"/>
                </a:solidFill>
              </a:defRPr>
            </a:lvl1pPr>
          </a:lstStyle>
          <a:p>
            <a:endParaRPr lang="en-US" dirty="0"/>
          </a:p>
        </p:txBody>
      </p:sp>
      <p:sp>
        <p:nvSpPr>
          <p:cNvPr id="20" name="SlideNumberPlaceholder">
            <a:extLst>
              <a:ext uri="{FF2B5EF4-FFF2-40B4-BE49-F238E27FC236}">
                <a16:creationId xmlns:a16="http://schemas.microsoft.com/office/drawing/2014/main" id="{1E0AFF74-6451-1B1C-475F-8A9F4DA50124}"/>
              </a:ext>
            </a:extLst>
          </p:cNvPr>
          <p:cNvSpPr>
            <a:spLocks noGrp="1"/>
          </p:cNvSpPr>
          <p:nvPr>
            <p:ph type="sldNum" sz="quarter" idx="12"/>
          </p:nvPr>
        </p:nvSpPr>
        <p:spPr>
          <a:xfrm>
            <a:off x="11582400" y="6536601"/>
            <a:ext cx="535709" cy="313242"/>
          </a:xfrm>
        </p:spPr>
        <p:txBody>
          <a:bodyPr/>
          <a:lstStyle>
            <a:lvl1pPr>
              <a:defRPr>
                <a:solidFill>
                  <a:schemeClr val="accent1"/>
                </a:solidFill>
              </a:defRPr>
            </a:lvl1pPr>
          </a:lstStyle>
          <a:p>
            <a:fld id="{E492D9C9-D102-485F-849A-B515010D78AF}" type="slidenum">
              <a:rPr lang="en-US" smtClean="0"/>
              <a:pPr/>
              <a:t>‹#›</a:t>
            </a:fld>
            <a:endParaRPr lang="en-US" dirty="0"/>
          </a:p>
        </p:txBody>
      </p:sp>
      <p:sp>
        <p:nvSpPr>
          <p:cNvPr id="21" name="ReferenceTextPlaceholder">
            <a:extLst>
              <a:ext uri="{FF2B5EF4-FFF2-40B4-BE49-F238E27FC236}">
                <a16:creationId xmlns:a16="http://schemas.microsoft.com/office/drawing/2014/main" id="{47761342-1A6B-0022-C246-65458B1834A8}"/>
              </a:ext>
            </a:extLst>
          </p:cNvPr>
          <p:cNvSpPr>
            <a:spLocks noGrp="1"/>
          </p:cNvSpPr>
          <p:nvPr>
            <p:ph type="body" sz="quarter" idx="20" hasCustomPrompt="1"/>
          </p:nvPr>
        </p:nvSpPr>
        <p:spPr>
          <a:xfrm>
            <a:off x="64654" y="6536601"/>
            <a:ext cx="8585359" cy="315158"/>
          </a:xfrm>
        </p:spPr>
        <p:txBody>
          <a:bodyPr anchor="b">
            <a:normAutofit/>
          </a:bodyPr>
          <a:lstStyle>
            <a:lvl1pPr marL="0" indent="0" algn="l">
              <a:buNone/>
              <a:defRPr sz="1600" b="0">
                <a:solidFill>
                  <a:schemeClr val="accent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Reference Text Here}</a:t>
            </a:r>
          </a:p>
        </p:txBody>
      </p:sp>
    </p:spTree>
    <p:extLst>
      <p:ext uri="{BB962C8B-B14F-4D97-AF65-F5344CB8AC3E}">
        <p14:creationId xmlns:p14="http://schemas.microsoft.com/office/powerpoint/2010/main" val="334110470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hree Content Areas">
    <p:spTree>
      <p:nvGrpSpPr>
        <p:cNvPr id="1" name=""/>
        <p:cNvGrpSpPr/>
        <p:nvPr/>
      </p:nvGrpSpPr>
      <p:grpSpPr>
        <a:xfrm>
          <a:off x="0" y="0"/>
          <a:ext cx="0" cy="0"/>
          <a:chOff x="0" y="0"/>
          <a:chExt cx="0" cy="0"/>
        </a:xfrm>
      </p:grpSpPr>
      <p:sp>
        <p:nvSpPr>
          <p:cNvPr id="14" name="ReferenceTextPlaceholder2">
            <a:extLst>
              <a:ext uri="{FF2B5EF4-FFF2-40B4-BE49-F238E27FC236}">
                <a16:creationId xmlns:a16="http://schemas.microsoft.com/office/drawing/2014/main" id="{71F8A726-853A-4BAA-A7AE-44610E0FC414}"/>
              </a:ext>
            </a:extLst>
          </p:cNvPr>
          <p:cNvSpPr>
            <a:spLocks noGrp="1"/>
          </p:cNvSpPr>
          <p:nvPr>
            <p:ph type="body" sz="quarter" idx="18" hasCustomPrompt="1"/>
          </p:nvPr>
        </p:nvSpPr>
        <p:spPr>
          <a:xfrm>
            <a:off x="4279128" y="6212171"/>
            <a:ext cx="3659508" cy="289649"/>
          </a:xfrm>
        </p:spPr>
        <p:txBody>
          <a:bodyPr anchor="b">
            <a:normAutofit/>
          </a:bodyPr>
          <a:lstStyle>
            <a:lvl1pPr marL="0" indent="0" algn="ctr">
              <a:buNone/>
              <a:defRPr sz="1600" b="0">
                <a:solidFill>
                  <a:schemeClr val="bg2">
                    <a:lumMod val="25000"/>
                  </a:schemeClr>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Reference 2 Text Here}</a:t>
            </a:r>
          </a:p>
        </p:txBody>
      </p:sp>
      <p:sp>
        <p:nvSpPr>
          <p:cNvPr id="11" name="ContentPlaceholder2"/>
          <p:cNvSpPr>
            <a:spLocks noGrp="1"/>
          </p:cNvSpPr>
          <p:nvPr>
            <p:ph sz="half" idx="13" hasCustomPrompt="1"/>
          </p:nvPr>
        </p:nvSpPr>
        <p:spPr>
          <a:xfrm>
            <a:off x="4276726" y="1158452"/>
            <a:ext cx="3638548" cy="5021984"/>
          </a:xfrm>
        </p:spPr>
        <p:txBody>
          <a:bodyPr/>
          <a:lstStyle>
            <a:lvl1pPr>
              <a:defRPr/>
            </a:lvl1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GuideRectangle2"/>
          <p:cNvSpPr/>
          <p:nvPr userDrawn="1"/>
        </p:nvSpPr>
        <p:spPr>
          <a:xfrm>
            <a:off x="4277952" y="1157128"/>
            <a:ext cx="3643738" cy="5023308"/>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HeaderTextPlaceholder2"/>
          <p:cNvSpPr>
            <a:spLocks noGrp="1"/>
          </p:cNvSpPr>
          <p:nvPr>
            <p:ph type="body" sz="quarter" idx="17" hasCustomPrompt="1"/>
          </p:nvPr>
        </p:nvSpPr>
        <p:spPr>
          <a:xfrm>
            <a:off x="4241617" y="561258"/>
            <a:ext cx="3694617" cy="538164"/>
          </a:xfrm>
          <a:solidFill>
            <a:srgbClr val="8064A2"/>
          </a:solidFill>
          <a:ln>
            <a:noFill/>
          </a:ln>
        </p:spPr>
        <p:style>
          <a:lnRef idx="0">
            <a:scrgbClr r="0" g="0" b="0"/>
          </a:lnRef>
          <a:fillRef idx="0">
            <a:scrgbClr r="0" g="0" b="0"/>
          </a:fillRef>
          <a:effectRef idx="0">
            <a:scrgbClr r="0" g="0" b="0"/>
          </a:effectRef>
          <a:fontRef idx="minor">
            <a:schemeClr val="lt1"/>
          </a:fontRef>
        </p:style>
        <p:txBody>
          <a:bodyPr/>
          <a:lstStyle>
            <a:lvl1pPr marL="0" indent="0" algn="ctr">
              <a:buNone/>
              <a:defRPr/>
            </a:lvl1pPr>
          </a:lstStyle>
          <a:p>
            <a:pPr lvl="0"/>
            <a:r>
              <a:rPr lang="en-US" dirty="0"/>
              <a:t>{Header 2 Here}</a:t>
            </a:r>
          </a:p>
        </p:txBody>
      </p:sp>
      <p:sp>
        <p:nvSpPr>
          <p:cNvPr id="7" name="ReferenceTextPlaceholder1"/>
          <p:cNvSpPr>
            <a:spLocks noGrp="1"/>
          </p:cNvSpPr>
          <p:nvPr>
            <p:ph type="body" sz="quarter" idx="3" hasCustomPrompt="1"/>
          </p:nvPr>
        </p:nvSpPr>
        <p:spPr>
          <a:xfrm>
            <a:off x="238129" y="6212172"/>
            <a:ext cx="3657588" cy="289649"/>
          </a:xfrm>
        </p:spPr>
        <p:txBody>
          <a:bodyPr anchor="b">
            <a:normAutofit/>
          </a:bodyPr>
          <a:lstStyle>
            <a:lvl1pPr marL="0" indent="0" algn="l">
              <a:buNone/>
              <a:defRPr sz="1600" b="0">
                <a:solidFill>
                  <a:schemeClr val="bg2">
                    <a:lumMod val="25000"/>
                  </a:schemeClr>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Reference 1 Text Here}</a:t>
            </a:r>
          </a:p>
        </p:txBody>
      </p:sp>
      <p:sp>
        <p:nvSpPr>
          <p:cNvPr id="4" name="ContentPlaceholder1"/>
          <p:cNvSpPr>
            <a:spLocks noGrp="1"/>
          </p:cNvSpPr>
          <p:nvPr>
            <p:ph sz="half" idx="2" hasCustomPrompt="1"/>
          </p:nvPr>
        </p:nvSpPr>
        <p:spPr>
          <a:xfrm>
            <a:off x="238129" y="1158452"/>
            <a:ext cx="3657581" cy="5032220"/>
          </a:xfrm>
        </p:spPr>
        <p:txBody>
          <a:bodyPr/>
          <a:lstStyle>
            <a:lvl1pPr>
              <a:defRPr/>
            </a:lvl1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GuideRectangle1"/>
          <p:cNvSpPr/>
          <p:nvPr userDrawn="1"/>
        </p:nvSpPr>
        <p:spPr>
          <a:xfrm>
            <a:off x="232931" y="1162908"/>
            <a:ext cx="3657581" cy="5023308"/>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HeaderTextPlaceholder1"/>
          <p:cNvSpPr>
            <a:spLocks noGrp="1"/>
          </p:cNvSpPr>
          <p:nvPr>
            <p:ph type="body" sz="quarter" idx="16" hasCustomPrompt="1"/>
          </p:nvPr>
        </p:nvSpPr>
        <p:spPr>
          <a:xfrm>
            <a:off x="238128" y="549707"/>
            <a:ext cx="3657591" cy="538164"/>
          </a:xfrm>
          <a:solidFill>
            <a:srgbClr val="8064A2"/>
          </a:solidFill>
          <a:ln>
            <a:noFill/>
          </a:ln>
        </p:spPr>
        <p:style>
          <a:lnRef idx="0">
            <a:scrgbClr r="0" g="0" b="0"/>
          </a:lnRef>
          <a:fillRef idx="0">
            <a:scrgbClr r="0" g="0" b="0"/>
          </a:fillRef>
          <a:effectRef idx="0">
            <a:scrgbClr r="0" g="0" b="0"/>
          </a:effectRef>
          <a:fontRef idx="minor">
            <a:schemeClr val="lt1"/>
          </a:fontRef>
        </p:style>
        <p:txBody>
          <a:bodyPr/>
          <a:lstStyle>
            <a:lvl1pPr marL="0" indent="0" algn="ctr">
              <a:buNone/>
              <a:defRPr/>
            </a:lvl1pPr>
          </a:lstStyle>
          <a:p>
            <a:pPr lvl="0"/>
            <a:r>
              <a:rPr lang="en-US" dirty="0"/>
              <a:t>{Header 1 Here}</a:t>
            </a:r>
          </a:p>
        </p:txBody>
      </p:sp>
      <p:sp>
        <p:nvSpPr>
          <p:cNvPr id="10" name="TitlePlaceholder"/>
          <p:cNvSpPr>
            <a:spLocks noGrp="1"/>
          </p:cNvSpPr>
          <p:nvPr>
            <p:ph type="title" hasCustomPrompt="1"/>
          </p:nvPr>
        </p:nvSpPr>
        <p:spPr>
          <a:xfrm>
            <a:off x="-1" y="0"/>
            <a:ext cx="12191999" cy="514350"/>
          </a:xfrm>
          <a:solidFill>
            <a:srgbClr val="8064A2"/>
          </a:solidFill>
        </p:spPr>
        <p:txBody>
          <a:bodyPr>
            <a:normAutofit/>
          </a:bodyPr>
          <a:lstStyle>
            <a:lvl1pPr algn="l">
              <a:defRPr sz="3200">
                <a:solidFill>
                  <a:schemeClr val="bg1"/>
                </a:solidFill>
              </a:defRPr>
            </a:lvl1pPr>
          </a:lstStyle>
          <a:p>
            <a:r>
              <a:rPr lang="en-US" dirty="0"/>
              <a:t>{Title Here}</a:t>
            </a:r>
          </a:p>
        </p:txBody>
      </p:sp>
      <p:sp>
        <p:nvSpPr>
          <p:cNvPr id="19" name="ReferenceTextPlaceholder3">
            <a:extLst>
              <a:ext uri="{FF2B5EF4-FFF2-40B4-BE49-F238E27FC236}">
                <a16:creationId xmlns:a16="http://schemas.microsoft.com/office/drawing/2014/main" id="{661DBD40-D238-45F9-B3E2-D741B4857EE2}"/>
              </a:ext>
            </a:extLst>
          </p:cNvPr>
          <p:cNvSpPr>
            <a:spLocks noGrp="1"/>
          </p:cNvSpPr>
          <p:nvPr>
            <p:ph type="body" sz="quarter" idx="20" hasCustomPrompt="1"/>
          </p:nvPr>
        </p:nvSpPr>
        <p:spPr>
          <a:xfrm>
            <a:off x="8241811" y="6200620"/>
            <a:ext cx="3659508" cy="289649"/>
          </a:xfrm>
        </p:spPr>
        <p:txBody>
          <a:bodyPr anchor="b">
            <a:normAutofit/>
          </a:bodyPr>
          <a:lstStyle>
            <a:lvl1pPr marL="0" indent="0" algn="r">
              <a:buNone/>
              <a:defRPr sz="1600" b="0">
                <a:solidFill>
                  <a:schemeClr val="bg2">
                    <a:lumMod val="25000"/>
                  </a:schemeClr>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Reference 3 Text Here}</a:t>
            </a:r>
          </a:p>
        </p:txBody>
      </p:sp>
      <p:sp>
        <p:nvSpPr>
          <p:cNvPr id="20" name="ContentPlaceholder3">
            <a:extLst>
              <a:ext uri="{FF2B5EF4-FFF2-40B4-BE49-F238E27FC236}">
                <a16:creationId xmlns:a16="http://schemas.microsoft.com/office/drawing/2014/main" id="{728907F7-CA8F-4692-B81F-07545D671016}"/>
              </a:ext>
            </a:extLst>
          </p:cNvPr>
          <p:cNvSpPr>
            <a:spLocks noGrp="1"/>
          </p:cNvSpPr>
          <p:nvPr>
            <p:ph sz="half" idx="21" hasCustomPrompt="1"/>
          </p:nvPr>
        </p:nvSpPr>
        <p:spPr>
          <a:xfrm>
            <a:off x="8239409" y="1146901"/>
            <a:ext cx="3638548" cy="5021984"/>
          </a:xfrm>
        </p:spPr>
        <p:txBody>
          <a:bodyPr/>
          <a:lstStyle>
            <a:lvl1pPr>
              <a:defRPr/>
            </a:lvl1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GuideRectangle3">
            <a:extLst>
              <a:ext uri="{FF2B5EF4-FFF2-40B4-BE49-F238E27FC236}">
                <a16:creationId xmlns:a16="http://schemas.microsoft.com/office/drawing/2014/main" id="{B23207B1-B0B1-49E5-8564-4A58357800EC}"/>
              </a:ext>
            </a:extLst>
          </p:cNvPr>
          <p:cNvSpPr/>
          <p:nvPr userDrawn="1"/>
        </p:nvSpPr>
        <p:spPr>
          <a:xfrm>
            <a:off x="8240635" y="1145577"/>
            <a:ext cx="3643738" cy="5023308"/>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HeaderTextPlaceholder3">
            <a:extLst>
              <a:ext uri="{FF2B5EF4-FFF2-40B4-BE49-F238E27FC236}">
                <a16:creationId xmlns:a16="http://schemas.microsoft.com/office/drawing/2014/main" id="{7E9252F0-C41B-4395-B807-B4E4ADABC15C}"/>
              </a:ext>
            </a:extLst>
          </p:cNvPr>
          <p:cNvSpPr>
            <a:spLocks noGrp="1"/>
          </p:cNvSpPr>
          <p:nvPr>
            <p:ph type="body" sz="quarter" idx="22" hasCustomPrompt="1"/>
          </p:nvPr>
        </p:nvSpPr>
        <p:spPr>
          <a:xfrm>
            <a:off x="8204300" y="549707"/>
            <a:ext cx="3694617" cy="538164"/>
          </a:xfrm>
          <a:solidFill>
            <a:srgbClr val="8064A2"/>
          </a:solidFill>
          <a:ln>
            <a:noFill/>
          </a:ln>
        </p:spPr>
        <p:style>
          <a:lnRef idx="0">
            <a:scrgbClr r="0" g="0" b="0"/>
          </a:lnRef>
          <a:fillRef idx="0">
            <a:scrgbClr r="0" g="0" b="0"/>
          </a:fillRef>
          <a:effectRef idx="0">
            <a:scrgbClr r="0" g="0" b="0"/>
          </a:effectRef>
          <a:fontRef idx="minor">
            <a:schemeClr val="lt1"/>
          </a:fontRef>
        </p:style>
        <p:txBody>
          <a:bodyPr/>
          <a:lstStyle>
            <a:lvl1pPr marL="0" indent="0" algn="ctr">
              <a:buNone/>
              <a:defRPr/>
            </a:lvl1pPr>
          </a:lstStyle>
          <a:p>
            <a:pPr lvl="0"/>
            <a:r>
              <a:rPr lang="en-US" dirty="0"/>
              <a:t>{Header 3 Here}</a:t>
            </a:r>
          </a:p>
        </p:txBody>
      </p:sp>
      <p:sp>
        <p:nvSpPr>
          <p:cNvPr id="2" name="SectionNameTextPlaceholder">
            <a:extLst>
              <a:ext uri="{FF2B5EF4-FFF2-40B4-BE49-F238E27FC236}">
                <a16:creationId xmlns:a16="http://schemas.microsoft.com/office/drawing/2014/main" id="{12DA0342-B7E5-FF4B-94E4-C2A6ABF47A0A}"/>
              </a:ext>
            </a:extLst>
          </p:cNvPr>
          <p:cNvSpPr>
            <a:spLocks noGrp="1"/>
          </p:cNvSpPr>
          <p:nvPr>
            <p:ph type="body" sz="quarter" idx="19" hasCustomPrompt="1"/>
          </p:nvPr>
        </p:nvSpPr>
        <p:spPr>
          <a:xfrm>
            <a:off x="8822575" y="0"/>
            <a:ext cx="3369430" cy="346938"/>
          </a:xfrm>
        </p:spPr>
        <p:txBody>
          <a:bodyPr anchor="b">
            <a:normAutofit/>
          </a:bodyPr>
          <a:lstStyle>
            <a:lvl1pPr marL="0" indent="0" algn="r">
              <a:buNone/>
              <a:defRPr sz="1600" b="0">
                <a:solidFill>
                  <a:schemeClr val="bg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Section Name Here}</a:t>
            </a:r>
          </a:p>
        </p:txBody>
      </p:sp>
      <p:sp>
        <p:nvSpPr>
          <p:cNvPr id="5" name="FooterPlaceholder">
            <a:extLst>
              <a:ext uri="{FF2B5EF4-FFF2-40B4-BE49-F238E27FC236}">
                <a16:creationId xmlns:a16="http://schemas.microsoft.com/office/drawing/2014/main" id="{E113DA3C-DE2C-0A0C-B2E0-C8010AEB6693}"/>
              </a:ext>
            </a:extLst>
          </p:cNvPr>
          <p:cNvSpPr>
            <a:spLocks noGrp="1"/>
          </p:cNvSpPr>
          <p:nvPr>
            <p:ph type="ftr" sz="quarter" idx="11"/>
          </p:nvPr>
        </p:nvSpPr>
        <p:spPr>
          <a:xfrm>
            <a:off x="8650013" y="6536602"/>
            <a:ext cx="2932387" cy="313241"/>
          </a:xfrm>
        </p:spPr>
        <p:txBody>
          <a:bodyPr/>
          <a:lstStyle>
            <a:lvl1pPr algn="ctr">
              <a:defRPr>
                <a:solidFill>
                  <a:schemeClr val="accent1"/>
                </a:solidFill>
              </a:defRPr>
            </a:lvl1pPr>
          </a:lstStyle>
          <a:p>
            <a:endParaRPr lang="en-US" dirty="0"/>
          </a:p>
        </p:txBody>
      </p:sp>
      <p:sp>
        <p:nvSpPr>
          <p:cNvPr id="6" name="SlideNumberPlaceholder">
            <a:extLst>
              <a:ext uri="{FF2B5EF4-FFF2-40B4-BE49-F238E27FC236}">
                <a16:creationId xmlns:a16="http://schemas.microsoft.com/office/drawing/2014/main" id="{A55B8D07-F948-5902-EC94-DBF0FC3F2A04}"/>
              </a:ext>
            </a:extLst>
          </p:cNvPr>
          <p:cNvSpPr>
            <a:spLocks noGrp="1"/>
          </p:cNvSpPr>
          <p:nvPr>
            <p:ph type="sldNum" sz="quarter" idx="12"/>
          </p:nvPr>
        </p:nvSpPr>
        <p:spPr>
          <a:xfrm>
            <a:off x="11582400" y="6536601"/>
            <a:ext cx="535709" cy="313242"/>
          </a:xfrm>
        </p:spPr>
        <p:txBody>
          <a:bodyPr/>
          <a:lstStyle>
            <a:lvl1pPr>
              <a:defRPr>
                <a:solidFill>
                  <a:schemeClr val="accent1"/>
                </a:solidFill>
              </a:defRPr>
            </a:lvl1pPr>
          </a:lstStyle>
          <a:p>
            <a:fld id="{E492D9C9-D102-485F-849A-B515010D78AF}" type="slidenum">
              <a:rPr lang="en-US" smtClean="0"/>
              <a:pPr/>
              <a:t>‹#›</a:t>
            </a:fld>
            <a:endParaRPr lang="en-US" dirty="0"/>
          </a:p>
        </p:txBody>
      </p:sp>
      <p:sp>
        <p:nvSpPr>
          <p:cNvPr id="18" name="ReferenceTextPlaceholder">
            <a:extLst>
              <a:ext uri="{FF2B5EF4-FFF2-40B4-BE49-F238E27FC236}">
                <a16:creationId xmlns:a16="http://schemas.microsoft.com/office/drawing/2014/main" id="{E74AB238-2609-9A44-5AEE-78D6920AE369}"/>
              </a:ext>
            </a:extLst>
          </p:cNvPr>
          <p:cNvSpPr>
            <a:spLocks noGrp="1"/>
          </p:cNvSpPr>
          <p:nvPr>
            <p:ph type="body" sz="quarter" idx="23" hasCustomPrompt="1"/>
          </p:nvPr>
        </p:nvSpPr>
        <p:spPr>
          <a:xfrm>
            <a:off x="64654" y="6536601"/>
            <a:ext cx="8585359" cy="315158"/>
          </a:xfrm>
        </p:spPr>
        <p:txBody>
          <a:bodyPr anchor="b">
            <a:normAutofit/>
          </a:bodyPr>
          <a:lstStyle>
            <a:lvl1pPr marL="0" indent="0" algn="l">
              <a:buNone/>
              <a:defRPr sz="1600" b="0">
                <a:solidFill>
                  <a:schemeClr val="accent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Reference Text Here}</a:t>
            </a:r>
          </a:p>
        </p:txBody>
      </p:sp>
    </p:spTree>
    <p:extLst>
      <p:ext uri="{BB962C8B-B14F-4D97-AF65-F5344CB8AC3E}">
        <p14:creationId xmlns:p14="http://schemas.microsoft.com/office/powerpoint/2010/main" val="31019843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eft Primary">
    <p:spTree>
      <p:nvGrpSpPr>
        <p:cNvPr id="1" name=""/>
        <p:cNvGrpSpPr/>
        <p:nvPr/>
      </p:nvGrpSpPr>
      <p:grpSpPr>
        <a:xfrm>
          <a:off x="0" y="0"/>
          <a:ext cx="0" cy="0"/>
          <a:chOff x="0" y="0"/>
          <a:chExt cx="0" cy="0"/>
        </a:xfrm>
      </p:grpSpPr>
      <p:sp>
        <p:nvSpPr>
          <p:cNvPr id="3" name="SectionNameTextPlaceholder"/>
          <p:cNvSpPr>
            <a:spLocks noGrp="1"/>
          </p:cNvSpPr>
          <p:nvPr>
            <p:ph type="body" idx="1" hasCustomPrompt="1"/>
          </p:nvPr>
        </p:nvSpPr>
        <p:spPr>
          <a:xfrm>
            <a:off x="8650013" y="6098312"/>
            <a:ext cx="3468095" cy="339067"/>
          </a:xfrm>
        </p:spPr>
        <p:txBody>
          <a:bodyPr anchor="b">
            <a:normAutofit/>
          </a:bodyPr>
          <a:lstStyle>
            <a:lvl1pPr marL="0" indent="0" algn="r">
              <a:buNone/>
              <a:defRPr sz="1600" b="0">
                <a:solidFill>
                  <a:schemeClr val="accent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Section Name Here}</a:t>
            </a:r>
          </a:p>
        </p:txBody>
      </p:sp>
      <p:sp>
        <p:nvSpPr>
          <p:cNvPr id="10" name="TitlePlaceholder"/>
          <p:cNvSpPr>
            <a:spLocks noGrp="1"/>
          </p:cNvSpPr>
          <p:nvPr>
            <p:ph type="title" hasCustomPrompt="1"/>
          </p:nvPr>
        </p:nvSpPr>
        <p:spPr>
          <a:xfrm>
            <a:off x="8650013" y="8157"/>
            <a:ext cx="3541987" cy="603820"/>
          </a:xfrm>
          <a:solidFill>
            <a:srgbClr val="8064A2"/>
          </a:solidFill>
        </p:spPr>
        <p:txBody>
          <a:bodyPr>
            <a:normAutofit/>
          </a:bodyPr>
          <a:lstStyle>
            <a:lvl1pPr algn="r">
              <a:defRPr sz="3200">
                <a:solidFill>
                  <a:schemeClr val="bg1"/>
                </a:solidFill>
              </a:defRPr>
            </a:lvl1pPr>
          </a:lstStyle>
          <a:p>
            <a:r>
              <a:rPr lang="en-US" dirty="0"/>
              <a:t>{Title Here}</a:t>
            </a:r>
          </a:p>
        </p:txBody>
      </p:sp>
      <p:sp>
        <p:nvSpPr>
          <p:cNvPr id="11" name="SecondaryPlaceholder"/>
          <p:cNvSpPr>
            <a:spLocks noGrp="1"/>
          </p:cNvSpPr>
          <p:nvPr>
            <p:ph sz="half" idx="13" hasCustomPrompt="1"/>
          </p:nvPr>
        </p:nvSpPr>
        <p:spPr>
          <a:xfrm>
            <a:off x="8650013" y="711200"/>
            <a:ext cx="3468096" cy="5287889"/>
          </a:xfrm>
        </p:spPr>
        <p:txBody>
          <a:bodyPr/>
          <a:lstStyle>
            <a:lvl1pPr>
              <a:defRPr/>
            </a:lvl1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PrimaryPlaceholder"/>
          <p:cNvSpPr>
            <a:spLocks noGrp="1"/>
          </p:cNvSpPr>
          <p:nvPr>
            <p:ph sz="half" idx="2" hasCustomPrompt="1"/>
          </p:nvPr>
        </p:nvSpPr>
        <p:spPr>
          <a:xfrm>
            <a:off x="121147" y="95534"/>
            <a:ext cx="8366030" cy="6341845"/>
          </a:xfrm>
        </p:spPr>
        <p:txBody>
          <a:bodyPr/>
          <a:lstStyle>
            <a:lvl1pPr>
              <a:defRPr/>
            </a:lvl1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Placeholder">
            <a:extLst>
              <a:ext uri="{FF2B5EF4-FFF2-40B4-BE49-F238E27FC236}">
                <a16:creationId xmlns:a16="http://schemas.microsoft.com/office/drawing/2014/main" id="{C76AF983-A8E6-CCCA-0920-E474EAF3F09B}"/>
              </a:ext>
            </a:extLst>
          </p:cNvPr>
          <p:cNvSpPr>
            <a:spLocks noGrp="1"/>
          </p:cNvSpPr>
          <p:nvPr>
            <p:ph type="ftr" sz="quarter" idx="11"/>
          </p:nvPr>
        </p:nvSpPr>
        <p:spPr>
          <a:xfrm>
            <a:off x="8650013" y="6536602"/>
            <a:ext cx="2932387" cy="313241"/>
          </a:xfrm>
        </p:spPr>
        <p:txBody>
          <a:bodyPr/>
          <a:lstStyle>
            <a:lvl1pPr algn="ctr">
              <a:defRPr>
                <a:solidFill>
                  <a:schemeClr val="accent1"/>
                </a:solidFill>
              </a:defRPr>
            </a:lvl1pPr>
          </a:lstStyle>
          <a:p>
            <a:endParaRPr lang="en-US" dirty="0"/>
          </a:p>
        </p:txBody>
      </p:sp>
      <p:sp>
        <p:nvSpPr>
          <p:cNvPr id="5" name="SlideNumberPlaceholder">
            <a:extLst>
              <a:ext uri="{FF2B5EF4-FFF2-40B4-BE49-F238E27FC236}">
                <a16:creationId xmlns:a16="http://schemas.microsoft.com/office/drawing/2014/main" id="{05B8B070-32FA-0ABA-9C23-4BFA402116CE}"/>
              </a:ext>
            </a:extLst>
          </p:cNvPr>
          <p:cNvSpPr>
            <a:spLocks noGrp="1"/>
          </p:cNvSpPr>
          <p:nvPr>
            <p:ph type="sldNum" sz="quarter" idx="12"/>
          </p:nvPr>
        </p:nvSpPr>
        <p:spPr>
          <a:xfrm>
            <a:off x="11582400" y="6536601"/>
            <a:ext cx="535709" cy="313242"/>
          </a:xfrm>
        </p:spPr>
        <p:txBody>
          <a:bodyPr/>
          <a:lstStyle>
            <a:lvl1pPr>
              <a:defRPr>
                <a:solidFill>
                  <a:schemeClr val="accent1"/>
                </a:solidFill>
              </a:defRPr>
            </a:lvl1pPr>
          </a:lstStyle>
          <a:p>
            <a:fld id="{E492D9C9-D102-485F-849A-B515010D78AF}" type="slidenum">
              <a:rPr lang="en-US" smtClean="0"/>
              <a:pPr/>
              <a:t>‹#›</a:t>
            </a:fld>
            <a:endParaRPr lang="en-US" dirty="0"/>
          </a:p>
        </p:txBody>
      </p:sp>
      <p:sp>
        <p:nvSpPr>
          <p:cNvPr id="6" name="ReferenceTextPlaceholder">
            <a:extLst>
              <a:ext uri="{FF2B5EF4-FFF2-40B4-BE49-F238E27FC236}">
                <a16:creationId xmlns:a16="http://schemas.microsoft.com/office/drawing/2014/main" id="{66473C18-4CDA-654E-7383-E89036EA30E5}"/>
              </a:ext>
            </a:extLst>
          </p:cNvPr>
          <p:cNvSpPr>
            <a:spLocks noGrp="1"/>
          </p:cNvSpPr>
          <p:nvPr>
            <p:ph type="body" sz="quarter" idx="23" hasCustomPrompt="1"/>
          </p:nvPr>
        </p:nvSpPr>
        <p:spPr>
          <a:xfrm>
            <a:off x="64654" y="6536601"/>
            <a:ext cx="8585359" cy="315158"/>
          </a:xfrm>
        </p:spPr>
        <p:txBody>
          <a:bodyPr anchor="b">
            <a:normAutofit/>
          </a:bodyPr>
          <a:lstStyle>
            <a:lvl1pPr marL="0" indent="0" algn="l">
              <a:buNone/>
              <a:defRPr sz="1600" b="0">
                <a:solidFill>
                  <a:schemeClr val="accent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Reference Text Here}</a:t>
            </a:r>
          </a:p>
        </p:txBody>
      </p:sp>
    </p:spTree>
    <p:extLst>
      <p:ext uri="{BB962C8B-B14F-4D97-AF65-F5344CB8AC3E}">
        <p14:creationId xmlns:p14="http://schemas.microsoft.com/office/powerpoint/2010/main" val="273679073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Right Primary">
    <p:spTree>
      <p:nvGrpSpPr>
        <p:cNvPr id="1" name=""/>
        <p:cNvGrpSpPr/>
        <p:nvPr/>
      </p:nvGrpSpPr>
      <p:grpSpPr>
        <a:xfrm>
          <a:off x="0" y="0"/>
          <a:ext cx="0" cy="0"/>
          <a:chOff x="0" y="0"/>
          <a:chExt cx="0" cy="0"/>
        </a:xfrm>
      </p:grpSpPr>
      <p:sp>
        <p:nvSpPr>
          <p:cNvPr id="3" name="SectionNameTextPlaceholder"/>
          <p:cNvSpPr>
            <a:spLocks noGrp="1"/>
          </p:cNvSpPr>
          <p:nvPr>
            <p:ph type="body" idx="1" hasCustomPrompt="1"/>
          </p:nvPr>
        </p:nvSpPr>
        <p:spPr>
          <a:xfrm>
            <a:off x="121147" y="6106469"/>
            <a:ext cx="3468095" cy="339067"/>
          </a:xfrm>
        </p:spPr>
        <p:txBody>
          <a:bodyPr anchor="b">
            <a:normAutofit/>
          </a:bodyPr>
          <a:lstStyle>
            <a:lvl1pPr marL="0" indent="0" algn="l">
              <a:buNone/>
              <a:defRPr sz="1600" b="0">
                <a:solidFill>
                  <a:schemeClr val="accent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Section Name Here}</a:t>
            </a:r>
          </a:p>
        </p:txBody>
      </p:sp>
      <p:sp>
        <p:nvSpPr>
          <p:cNvPr id="10" name="TitlePlaceholder"/>
          <p:cNvSpPr>
            <a:spLocks noGrp="1"/>
          </p:cNvSpPr>
          <p:nvPr>
            <p:ph type="title" hasCustomPrompt="1"/>
          </p:nvPr>
        </p:nvSpPr>
        <p:spPr>
          <a:xfrm>
            <a:off x="1" y="1"/>
            <a:ext cx="3589242" cy="603250"/>
          </a:xfrm>
          <a:solidFill>
            <a:srgbClr val="8064A2"/>
          </a:solidFill>
        </p:spPr>
        <p:txBody>
          <a:bodyPr>
            <a:normAutofit/>
          </a:bodyPr>
          <a:lstStyle>
            <a:lvl1pPr algn="l">
              <a:defRPr sz="3200">
                <a:solidFill>
                  <a:schemeClr val="bg1"/>
                </a:solidFill>
              </a:defRPr>
            </a:lvl1pPr>
          </a:lstStyle>
          <a:p>
            <a:r>
              <a:rPr lang="en-US" dirty="0"/>
              <a:t>{Title Here}</a:t>
            </a:r>
          </a:p>
        </p:txBody>
      </p:sp>
      <p:sp>
        <p:nvSpPr>
          <p:cNvPr id="11" name="SecondaryPlaceholder"/>
          <p:cNvSpPr>
            <a:spLocks noGrp="1"/>
          </p:cNvSpPr>
          <p:nvPr>
            <p:ph sz="half" idx="13" hasCustomPrompt="1"/>
          </p:nvPr>
        </p:nvSpPr>
        <p:spPr>
          <a:xfrm>
            <a:off x="121147" y="702472"/>
            <a:ext cx="3468096" cy="5304773"/>
          </a:xfrm>
        </p:spPr>
        <p:txBody>
          <a:bodyPr/>
          <a:lstStyle>
            <a:lvl1pPr>
              <a:defRPr/>
            </a:lvl1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PrimaryPlaceholder"/>
          <p:cNvSpPr>
            <a:spLocks noGrp="1"/>
          </p:cNvSpPr>
          <p:nvPr>
            <p:ph sz="half" idx="2" hasCustomPrompt="1"/>
          </p:nvPr>
        </p:nvSpPr>
        <p:spPr>
          <a:xfrm>
            <a:off x="3712120" y="103691"/>
            <a:ext cx="8366030" cy="6341845"/>
          </a:xfrm>
        </p:spPr>
        <p:txBody>
          <a:bodyPr/>
          <a:lstStyle>
            <a:lvl1pPr>
              <a:defRPr/>
            </a:lvl1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Placeholder">
            <a:extLst>
              <a:ext uri="{FF2B5EF4-FFF2-40B4-BE49-F238E27FC236}">
                <a16:creationId xmlns:a16="http://schemas.microsoft.com/office/drawing/2014/main" id="{7404E2FE-D80D-7C4D-62D7-9966573A35C1}"/>
              </a:ext>
            </a:extLst>
          </p:cNvPr>
          <p:cNvSpPr>
            <a:spLocks noGrp="1"/>
          </p:cNvSpPr>
          <p:nvPr>
            <p:ph type="ftr" sz="quarter" idx="11"/>
          </p:nvPr>
        </p:nvSpPr>
        <p:spPr>
          <a:xfrm>
            <a:off x="8650013" y="6536602"/>
            <a:ext cx="2932387" cy="313241"/>
          </a:xfrm>
        </p:spPr>
        <p:txBody>
          <a:bodyPr/>
          <a:lstStyle>
            <a:lvl1pPr algn="ctr">
              <a:defRPr>
                <a:solidFill>
                  <a:schemeClr val="accent1"/>
                </a:solidFill>
              </a:defRPr>
            </a:lvl1pPr>
          </a:lstStyle>
          <a:p>
            <a:endParaRPr lang="en-US" dirty="0"/>
          </a:p>
        </p:txBody>
      </p:sp>
      <p:sp>
        <p:nvSpPr>
          <p:cNvPr id="5" name="SlideNumberPlaceholder">
            <a:extLst>
              <a:ext uri="{FF2B5EF4-FFF2-40B4-BE49-F238E27FC236}">
                <a16:creationId xmlns:a16="http://schemas.microsoft.com/office/drawing/2014/main" id="{E9BB872B-A62C-9E16-4BB1-07A8A6D7D6AA}"/>
              </a:ext>
            </a:extLst>
          </p:cNvPr>
          <p:cNvSpPr>
            <a:spLocks noGrp="1"/>
          </p:cNvSpPr>
          <p:nvPr>
            <p:ph type="sldNum" sz="quarter" idx="12"/>
          </p:nvPr>
        </p:nvSpPr>
        <p:spPr>
          <a:xfrm>
            <a:off x="11582400" y="6536601"/>
            <a:ext cx="535709" cy="313242"/>
          </a:xfrm>
        </p:spPr>
        <p:txBody>
          <a:bodyPr/>
          <a:lstStyle>
            <a:lvl1pPr>
              <a:defRPr>
                <a:solidFill>
                  <a:schemeClr val="accent1"/>
                </a:solidFill>
              </a:defRPr>
            </a:lvl1pPr>
          </a:lstStyle>
          <a:p>
            <a:fld id="{E492D9C9-D102-485F-849A-B515010D78AF}" type="slidenum">
              <a:rPr lang="en-US" smtClean="0"/>
              <a:pPr/>
              <a:t>‹#›</a:t>
            </a:fld>
            <a:endParaRPr lang="en-US" dirty="0"/>
          </a:p>
        </p:txBody>
      </p:sp>
      <p:sp>
        <p:nvSpPr>
          <p:cNvPr id="6" name="ReferenceTextPlaceholder">
            <a:extLst>
              <a:ext uri="{FF2B5EF4-FFF2-40B4-BE49-F238E27FC236}">
                <a16:creationId xmlns:a16="http://schemas.microsoft.com/office/drawing/2014/main" id="{52DB6DDC-E8F6-C81D-E9E2-6FB746075D95}"/>
              </a:ext>
            </a:extLst>
          </p:cNvPr>
          <p:cNvSpPr>
            <a:spLocks noGrp="1"/>
          </p:cNvSpPr>
          <p:nvPr>
            <p:ph type="body" sz="quarter" idx="23" hasCustomPrompt="1"/>
          </p:nvPr>
        </p:nvSpPr>
        <p:spPr>
          <a:xfrm>
            <a:off x="64654" y="6536601"/>
            <a:ext cx="8585359" cy="315158"/>
          </a:xfrm>
        </p:spPr>
        <p:txBody>
          <a:bodyPr anchor="b">
            <a:normAutofit/>
          </a:bodyPr>
          <a:lstStyle>
            <a:lvl1pPr marL="0" indent="0" algn="l">
              <a:buNone/>
              <a:defRPr sz="1600" b="0">
                <a:solidFill>
                  <a:schemeClr val="accent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Reference Text Here}</a:t>
            </a:r>
          </a:p>
        </p:txBody>
      </p:sp>
    </p:spTree>
    <p:extLst>
      <p:ext uri="{BB962C8B-B14F-4D97-AF65-F5344CB8AC3E}">
        <p14:creationId xmlns:p14="http://schemas.microsoft.com/office/powerpoint/2010/main" val="163652107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F583CA2-1502-460E-9AFD-DDD1FC3FD74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2ACBCB13-5997-494A-BB0C-6931F81B6B0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51C86E1C-AEB5-43B9-BA72-D734D8C65AB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accent1"/>
                </a:solidFill>
              </a:defRPr>
            </a:lvl1pPr>
          </a:lstStyle>
          <a:p>
            <a:fld id="{82C8E351-37C8-4FC8-93F4-467735F489A6}" type="datetimeFigureOut">
              <a:rPr lang="en-US" smtClean="0"/>
              <a:pPr/>
              <a:t>2/15/2025</a:t>
            </a:fld>
            <a:endParaRPr lang="en-US" dirty="0"/>
          </a:p>
        </p:txBody>
      </p:sp>
      <p:sp>
        <p:nvSpPr>
          <p:cNvPr id="5" name="Footer Placeholder 4">
            <a:extLst>
              <a:ext uri="{FF2B5EF4-FFF2-40B4-BE49-F238E27FC236}">
                <a16:creationId xmlns:a16="http://schemas.microsoft.com/office/drawing/2014/main" id="{F48B7D2F-A2BE-477C-9B35-E6E48001A42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accent1"/>
                </a:solidFill>
              </a:defRPr>
            </a:lvl1pPr>
          </a:lstStyle>
          <a:p>
            <a:endParaRPr lang="en-US" dirty="0"/>
          </a:p>
        </p:txBody>
      </p:sp>
      <p:sp>
        <p:nvSpPr>
          <p:cNvPr id="6" name="Slide Number Placeholder 5">
            <a:extLst>
              <a:ext uri="{FF2B5EF4-FFF2-40B4-BE49-F238E27FC236}">
                <a16:creationId xmlns:a16="http://schemas.microsoft.com/office/drawing/2014/main" id="{C5BA2D7C-A847-4008-884A-601C0460C0C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accent1"/>
                </a:solidFill>
              </a:defRPr>
            </a:lvl1pPr>
          </a:lstStyle>
          <a:p>
            <a:fld id="{6D22F896-40B5-4ADD-8801-0D06FADFA095}" type="slidenum">
              <a:rPr lang="en-US" smtClean="0"/>
              <a:pPr/>
              <a:t>‹#›</a:t>
            </a:fld>
            <a:endParaRPr lang="en-US" dirty="0"/>
          </a:p>
        </p:txBody>
      </p:sp>
    </p:spTree>
    <p:extLst>
      <p:ext uri="{BB962C8B-B14F-4D97-AF65-F5344CB8AC3E}">
        <p14:creationId xmlns:p14="http://schemas.microsoft.com/office/powerpoint/2010/main" val="1202479639"/>
      </p:ext>
    </p:extLst>
  </p:cSld>
  <p:clrMap bg1="lt1" tx1="dk1" bg2="lt2" tx2="dk2" accent1="accent1" accent2="accent2" accent3="accent3" accent4="accent4" accent5="accent5" accent6="accent6" hlink="hlink" folHlink="folHlink"/>
  <p:sldLayoutIdLst>
    <p:sldLayoutId id="2147483693" r:id="rId1"/>
    <p:sldLayoutId id="2147483670" r:id="rId2"/>
    <p:sldLayoutId id="2147483694" r:id="rId3"/>
    <p:sldLayoutId id="2147483674" r:id="rId4"/>
    <p:sldLayoutId id="2147483672" r:id="rId5"/>
    <p:sldLayoutId id="2147483673" r:id="rId6"/>
    <p:sldLayoutId id="2147483692" r:id="rId7"/>
    <p:sldLayoutId id="2147483675" r:id="rId8"/>
    <p:sldLayoutId id="2147483676" r:id="rId9"/>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lumMod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lumMod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3.png"/><Relationship Id="rId18" Type="http://schemas.openxmlformats.org/officeDocument/2006/relationships/image" Target="../media/image4.png"/><Relationship Id="rId26" Type="http://schemas.openxmlformats.org/officeDocument/2006/relationships/image" Target="../media/image20.tmp"/><Relationship Id="rId3" Type="http://schemas.openxmlformats.org/officeDocument/2006/relationships/audio" Target="../media/media1.mp3"/><Relationship Id="rId21" Type="http://schemas.openxmlformats.org/officeDocument/2006/relationships/hyperlink" Target="https://vimeo.com/" TargetMode="External"/><Relationship Id="rId7" Type="http://schemas.openxmlformats.org/officeDocument/2006/relationships/image" Target="../media/image8.svg"/><Relationship Id="rId12" Type="http://schemas.openxmlformats.org/officeDocument/2006/relationships/hyperlink" Target="https://www.youtube.com/" TargetMode="External"/><Relationship Id="rId17" Type="http://schemas.openxmlformats.org/officeDocument/2006/relationships/image" Target="../media/image15.png"/><Relationship Id="rId25" Type="http://schemas.openxmlformats.org/officeDocument/2006/relationships/hyperlink" Target="https://speakerdeck.com/" TargetMode="External"/><Relationship Id="rId2" Type="http://schemas.microsoft.com/office/2007/relationships/media" Target="../media/media1.mp3"/><Relationship Id="rId16" Type="http://schemas.openxmlformats.org/officeDocument/2006/relationships/image" Target="../media/image14.jpeg"/><Relationship Id="rId20" Type="http://schemas.openxmlformats.org/officeDocument/2006/relationships/image" Target="../media/image17.png"/><Relationship Id="rId1" Type="http://schemas.openxmlformats.org/officeDocument/2006/relationships/tags" Target="../tags/tag2.xml"/><Relationship Id="rId6" Type="http://schemas.openxmlformats.org/officeDocument/2006/relationships/image" Target="../media/image7.png"/><Relationship Id="rId11" Type="http://schemas.openxmlformats.org/officeDocument/2006/relationships/image" Target="../media/image12.svg"/><Relationship Id="rId24" Type="http://schemas.openxmlformats.org/officeDocument/2006/relationships/image" Target="../media/image19.jpeg"/><Relationship Id="rId5" Type="http://schemas.openxmlformats.org/officeDocument/2006/relationships/notesSlide" Target="../notesSlides/notesSlide1.xml"/><Relationship Id="rId15" Type="http://schemas.openxmlformats.org/officeDocument/2006/relationships/image" Target="../media/image5.png"/><Relationship Id="rId23" Type="http://schemas.openxmlformats.org/officeDocument/2006/relationships/hyperlink" Target="https://www.slideshare.net/" TargetMode="External"/><Relationship Id="rId10" Type="http://schemas.openxmlformats.org/officeDocument/2006/relationships/image" Target="../media/image11.png"/><Relationship Id="rId19" Type="http://schemas.openxmlformats.org/officeDocument/2006/relationships/image" Target="../media/image16.jpeg"/><Relationship Id="rId4" Type="http://schemas.openxmlformats.org/officeDocument/2006/relationships/slideLayout" Target="../slideLayouts/slideLayout4.xml"/><Relationship Id="rId9" Type="http://schemas.openxmlformats.org/officeDocument/2006/relationships/image" Target="../media/image10.svg"/><Relationship Id="rId14" Type="http://schemas.openxmlformats.org/officeDocument/2006/relationships/image" Target="../media/image6.png"/><Relationship Id="rId22" Type="http://schemas.openxmlformats.org/officeDocument/2006/relationships/image" Target="../media/image18.png"/><Relationship Id="rId27" Type="http://schemas.openxmlformats.org/officeDocument/2006/relationships/image" Target="../media/image21.png"/></Relationships>
</file>

<file path=ppt/slides/_rels/slide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audio" Target="../media/media2.mp3"/><Relationship Id="rId7" Type="http://schemas.openxmlformats.org/officeDocument/2006/relationships/hyperlink" Target="https://multimodalslides.com/" TargetMode="External"/><Relationship Id="rId12" Type="http://schemas.openxmlformats.org/officeDocument/2006/relationships/image" Target="../media/image21.png"/><Relationship Id="rId2" Type="http://schemas.microsoft.com/office/2007/relationships/media" Target="../media/media2.mp3"/><Relationship Id="rId1" Type="http://schemas.openxmlformats.org/officeDocument/2006/relationships/tags" Target="../tags/tag3.xml"/><Relationship Id="rId6" Type="http://schemas.openxmlformats.org/officeDocument/2006/relationships/image" Target="../media/image22.tmp"/><Relationship Id="rId11" Type="http://schemas.openxmlformats.org/officeDocument/2006/relationships/image" Target="../media/image23.png"/><Relationship Id="rId5" Type="http://schemas.openxmlformats.org/officeDocument/2006/relationships/notesSlide" Target="../notesSlides/notesSlide2.xml"/><Relationship Id="rId10" Type="http://schemas.openxmlformats.org/officeDocument/2006/relationships/hyperlink" Target="https://elevenlabs.io/" TargetMode="External"/><Relationship Id="rId4" Type="http://schemas.openxmlformats.org/officeDocument/2006/relationships/slideLayout" Target="../slideLayouts/slideLayout4.xml"/><Relationship Id="rId9" Type="http://schemas.openxmlformats.org/officeDocument/2006/relationships/image" Target="../media/image5.png"/></Relationships>
</file>

<file path=ppt/slides/_rels/slide3.xml.rels><?xml version="1.0" encoding="UTF-8" standalone="yes"?>
<Relationships xmlns="http://schemas.openxmlformats.org/package/2006/relationships"><Relationship Id="rId8" Type="http://schemas.openxmlformats.org/officeDocument/2006/relationships/hyperlink" Target="https://workspace.google.com/products/drive/" TargetMode="External"/><Relationship Id="rId13" Type="http://schemas.openxmlformats.org/officeDocument/2006/relationships/image" Target="../media/image27.png"/><Relationship Id="rId18" Type="http://schemas.openxmlformats.org/officeDocument/2006/relationships/hyperlink" Target="https://azure.microsoft.com/en-us/products/devops" TargetMode="External"/><Relationship Id="rId26" Type="http://schemas.openxmlformats.org/officeDocument/2006/relationships/image" Target="../media/image9.png"/><Relationship Id="rId3" Type="http://schemas.openxmlformats.org/officeDocument/2006/relationships/audio" Target="../media/media3.mp3"/><Relationship Id="rId21" Type="http://schemas.openxmlformats.org/officeDocument/2006/relationships/image" Target="../media/image30.png"/><Relationship Id="rId7" Type="http://schemas.openxmlformats.org/officeDocument/2006/relationships/image" Target="../media/image24.png"/><Relationship Id="rId12" Type="http://schemas.openxmlformats.org/officeDocument/2006/relationships/hyperlink" Target="https://www.microsoft.com/en-us/microsoft-365/onedrive/online-cloud-storage" TargetMode="External"/><Relationship Id="rId17" Type="http://schemas.openxmlformats.org/officeDocument/2006/relationships/image" Target="../media/image28.png"/><Relationship Id="rId25" Type="http://schemas.openxmlformats.org/officeDocument/2006/relationships/image" Target="../media/image8.svg"/><Relationship Id="rId2" Type="http://schemas.microsoft.com/office/2007/relationships/media" Target="../media/media3.mp3"/><Relationship Id="rId16" Type="http://schemas.openxmlformats.org/officeDocument/2006/relationships/hyperlink" Target="https://bitbucket.org/" TargetMode="External"/><Relationship Id="rId20" Type="http://schemas.openxmlformats.org/officeDocument/2006/relationships/hyperlink" Target="https://www.microsoft.com/en-us/microsoft-365/sharepoint/collaboration" TargetMode="External"/><Relationship Id="rId29" Type="http://schemas.openxmlformats.org/officeDocument/2006/relationships/image" Target="../media/image12.svg"/><Relationship Id="rId1" Type="http://schemas.openxmlformats.org/officeDocument/2006/relationships/tags" Target="../tags/tag4.xml"/><Relationship Id="rId6" Type="http://schemas.openxmlformats.org/officeDocument/2006/relationships/hyperlink" Target="https://www.dropbox.com/" TargetMode="External"/><Relationship Id="rId11" Type="http://schemas.openxmlformats.org/officeDocument/2006/relationships/image" Target="../media/image26.png"/><Relationship Id="rId24" Type="http://schemas.openxmlformats.org/officeDocument/2006/relationships/image" Target="../media/image7.png"/><Relationship Id="rId32" Type="http://schemas.openxmlformats.org/officeDocument/2006/relationships/image" Target="../media/image21.png"/><Relationship Id="rId5" Type="http://schemas.openxmlformats.org/officeDocument/2006/relationships/notesSlide" Target="../notesSlides/notesSlide3.xml"/><Relationship Id="rId15" Type="http://schemas.openxmlformats.org/officeDocument/2006/relationships/image" Target="../media/image2.png"/><Relationship Id="rId23" Type="http://schemas.openxmlformats.org/officeDocument/2006/relationships/image" Target="../media/image32.png"/><Relationship Id="rId28" Type="http://schemas.openxmlformats.org/officeDocument/2006/relationships/image" Target="../media/image11.png"/><Relationship Id="rId10" Type="http://schemas.openxmlformats.org/officeDocument/2006/relationships/hyperlink" Target="https://www.box.com/" TargetMode="External"/><Relationship Id="rId19" Type="http://schemas.openxmlformats.org/officeDocument/2006/relationships/image" Target="../media/image29.jpeg"/><Relationship Id="rId31" Type="http://schemas.openxmlformats.org/officeDocument/2006/relationships/image" Target="../media/image34.svg"/><Relationship Id="rId4" Type="http://schemas.openxmlformats.org/officeDocument/2006/relationships/slideLayout" Target="../slideLayouts/slideLayout4.xml"/><Relationship Id="rId9" Type="http://schemas.openxmlformats.org/officeDocument/2006/relationships/image" Target="../media/image25.png"/><Relationship Id="rId14" Type="http://schemas.openxmlformats.org/officeDocument/2006/relationships/hyperlink" Target="https://github.com/" TargetMode="External"/><Relationship Id="rId22" Type="http://schemas.openxmlformats.org/officeDocument/2006/relationships/image" Target="../media/image31.png"/><Relationship Id="rId27" Type="http://schemas.openxmlformats.org/officeDocument/2006/relationships/image" Target="../media/image10.svg"/><Relationship Id="rId30" Type="http://schemas.openxmlformats.org/officeDocument/2006/relationships/image" Target="../media/image33.png"/></Relationships>
</file>

<file path=ppt/slides/_rels/slide4.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34.svg"/><Relationship Id="rId3" Type="http://schemas.openxmlformats.org/officeDocument/2006/relationships/audio" Target="../media/media4.mp3"/><Relationship Id="rId7" Type="http://schemas.openxmlformats.org/officeDocument/2006/relationships/image" Target="../media/image8.svg"/><Relationship Id="rId12" Type="http://schemas.openxmlformats.org/officeDocument/2006/relationships/image" Target="../media/image33.png"/><Relationship Id="rId2" Type="http://schemas.microsoft.com/office/2007/relationships/media" Target="../media/media4.mp3"/><Relationship Id="rId1" Type="http://schemas.openxmlformats.org/officeDocument/2006/relationships/tags" Target="../tags/tag5.xml"/><Relationship Id="rId6" Type="http://schemas.openxmlformats.org/officeDocument/2006/relationships/image" Target="../media/image7.png"/><Relationship Id="rId11" Type="http://schemas.openxmlformats.org/officeDocument/2006/relationships/image" Target="../media/image12.svg"/><Relationship Id="rId5" Type="http://schemas.openxmlformats.org/officeDocument/2006/relationships/notesSlide" Target="../notesSlides/notesSlide4.xml"/><Relationship Id="rId10" Type="http://schemas.openxmlformats.org/officeDocument/2006/relationships/image" Target="../media/image11.png"/><Relationship Id="rId4" Type="http://schemas.openxmlformats.org/officeDocument/2006/relationships/slideLayout" Target="../slideLayouts/slideLayout4.xml"/><Relationship Id="rId9" Type="http://schemas.openxmlformats.org/officeDocument/2006/relationships/image" Target="../media/image10.svg"/><Relationship Id="rId14" Type="http://schemas.openxmlformats.org/officeDocument/2006/relationships/image" Target="../media/image21.png"/></Relationships>
</file>

<file path=ppt/slides/_rels/slide5.xml.rels><?xml version="1.0" encoding="UTF-8" standalone="yes"?>
<Relationships xmlns="http://schemas.openxmlformats.org/package/2006/relationships"><Relationship Id="rId3" Type="http://schemas.openxmlformats.org/officeDocument/2006/relationships/audio" Target="../media/media5.mp3"/><Relationship Id="rId7" Type="http://schemas.openxmlformats.org/officeDocument/2006/relationships/image" Target="../media/image21.png"/><Relationship Id="rId2" Type="http://schemas.microsoft.com/office/2007/relationships/media" Target="../media/media5.mp3"/><Relationship Id="rId1" Type="http://schemas.openxmlformats.org/officeDocument/2006/relationships/tags" Target="../tags/tag6.xml"/><Relationship Id="rId6" Type="http://schemas.openxmlformats.org/officeDocument/2006/relationships/image" Target="../media/image35.png"/><Relationship Id="rId5" Type="http://schemas.openxmlformats.org/officeDocument/2006/relationships/notesSlide" Target="../notesSlides/notesSlide5.xml"/><Relationship Id="rId4"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audio" Target="../media/media6.mp3"/><Relationship Id="rId7" Type="http://schemas.openxmlformats.org/officeDocument/2006/relationships/image" Target="../media/image21.png"/><Relationship Id="rId2" Type="http://schemas.microsoft.com/office/2007/relationships/media" Target="../media/media6.mp3"/><Relationship Id="rId1" Type="http://schemas.openxmlformats.org/officeDocument/2006/relationships/tags" Target="../tags/tag7.xml"/><Relationship Id="rId6" Type="http://schemas.openxmlformats.org/officeDocument/2006/relationships/hyperlink" Target="mailto:John@MultimodalSlides.com?subject=[Please%20Provide%20Subject]" TargetMode="External"/><Relationship Id="rId5" Type="http://schemas.openxmlformats.org/officeDocument/2006/relationships/notesSlide" Target="../notesSlides/notesSlide6.xml"/><Relationship Id="rId4"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cxnSp>
        <p:nvCxnSpPr>
          <p:cNvPr id="121" name="Straight Arrow Connector 120">
            <a:extLst>
              <a:ext uri="{FF2B5EF4-FFF2-40B4-BE49-F238E27FC236}">
                <a16:creationId xmlns:a16="http://schemas.microsoft.com/office/drawing/2014/main" id="{ACE0DF72-C376-46D9-72C9-52B6DB77EB1E}"/>
              </a:ext>
            </a:extLst>
          </p:cNvPr>
          <p:cNvCxnSpPr>
            <a:cxnSpLocks/>
          </p:cNvCxnSpPr>
          <p:nvPr/>
        </p:nvCxnSpPr>
        <p:spPr>
          <a:xfrm>
            <a:off x="4369376" y="3117847"/>
            <a:ext cx="0" cy="709009"/>
          </a:xfrm>
          <a:prstGeom prst="straightConnector1">
            <a:avLst/>
          </a:prstGeom>
          <a:ln w="38100">
            <a:solidFill>
              <a:srgbClr val="4F81BD"/>
            </a:solidFill>
            <a:tailEnd type="triangle"/>
          </a:ln>
        </p:spPr>
        <p:style>
          <a:lnRef idx="1">
            <a:schemeClr val="accent1"/>
          </a:lnRef>
          <a:fillRef idx="0">
            <a:schemeClr val="accent1"/>
          </a:fillRef>
          <a:effectRef idx="0">
            <a:schemeClr val="accent1"/>
          </a:effectRef>
          <a:fontRef idx="minor">
            <a:schemeClr val="tx1"/>
          </a:fontRef>
        </p:style>
      </p:cxnSp>
      <p:sp>
        <p:nvSpPr>
          <p:cNvPr id="112" name="Rectangle: Rounded Corners 111">
            <a:extLst>
              <a:ext uri="{FF2B5EF4-FFF2-40B4-BE49-F238E27FC236}">
                <a16:creationId xmlns:a16="http://schemas.microsoft.com/office/drawing/2014/main" id="{D0505DAD-E8EA-EA94-0DF4-C1740C219751}"/>
              </a:ext>
            </a:extLst>
          </p:cNvPr>
          <p:cNvSpPr/>
          <p:nvPr/>
        </p:nvSpPr>
        <p:spPr>
          <a:xfrm>
            <a:off x="6642105" y="4356282"/>
            <a:ext cx="4984746" cy="850997"/>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t">
            <a:normAutofit/>
          </a:bodyPr>
          <a:lstStyle/>
          <a:p>
            <a:r>
              <a:rPr lang="en-US" sz="2200" dirty="0"/>
              <a:t>Video</a:t>
            </a:r>
            <a:br>
              <a:rPr lang="en-US" sz="2200" dirty="0"/>
            </a:br>
            <a:r>
              <a:rPr lang="en-US" sz="2200" dirty="0"/>
              <a:t>Sharing</a:t>
            </a:r>
          </a:p>
        </p:txBody>
      </p:sp>
      <p:sp>
        <p:nvSpPr>
          <p:cNvPr id="5" name="TitlePlaceholder">
            <a:extLst>
              <a:ext uri="{FF2B5EF4-FFF2-40B4-BE49-F238E27FC236}">
                <a16:creationId xmlns:a16="http://schemas.microsoft.com/office/drawing/2014/main" id="{E3293B26-2E0E-77F8-390F-72519693D375}"/>
              </a:ext>
            </a:extLst>
          </p:cNvPr>
          <p:cNvSpPr>
            <a:spLocks noGrp="1"/>
          </p:cNvSpPr>
          <p:nvPr>
            <p:ph type="title"/>
          </p:nvPr>
        </p:nvSpPr>
        <p:spPr>
          <a:xfrm>
            <a:off x="0" y="-568500"/>
            <a:ext cx="8764693" cy="514108"/>
          </a:xfrm>
        </p:spPr>
        <p:txBody>
          <a:bodyPr>
            <a:normAutofit fontScale="90000"/>
          </a:bodyPr>
          <a:lstStyle/>
          <a:p>
            <a:r>
              <a:rPr lang="en-US" dirty="0"/>
              <a:t>Home</a:t>
            </a:r>
          </a:p>
        </p:txBody>
      </p:sp>
      <p:sp>
        <p:nvSpPr>
          <p:cNvPr id="9" name="SectionNameTextPlaceholder">
            <a:extLst>
              <a:ext uri="{FF2B5EF4-FFF2-40B4-BE49-F238E27FC236}">
                <a16:creationId xmlns:a16="http://schemas.microsoft.com/office/drawing/2014/main" id="{B1939221-E28F-AA6C-8E55-F3560A84CB42}"/>
              </a:ext>
            </a:extLst>
          </p:cNvPr>
          <p:cNvSpPr>
            <a:spLocks noGrp="1"/>
          </p:cNvSpPr>
          <p:nvPr>
            <p:ph type="body" sz="quarter" idx="3"/>
          </p:nvPr>
        </p:nvSpPr>
        <p:spPr/>
        <p:txBody>
          <a:bodyPr/>
          <a:lstStyle/>
          <a:p>
            <a:r>
              <a:rPr lang="en-US" dirty="0"/>
              <a:t>Home</a:t>
            </a:r>
          </a:p>
        </p:txBody>
      </p:sp>
      <p:sp>
        <p:nvSpPr>
          <p:cNvPr id="11" name="ReferenceTextPlaceholder">
            <a:extLst>
              <a:ext uri="{FF2B5EF4-FFF2-40B4-BE49-F238E27FC236}">
                <a16:creationId xmlns:a16="http://schemas.microsoft.com/office/drawing/2014/main" id="{349C8B73-BA5E-C1CA-119F-0ED14AEC5630}"/>
              </a:ext>
            </a:extLst>
          </p:cNvPr>
          <p:cNvSpPr>
            <a:spLocks noGrp="1"/>
          </p:cNvSpPr>
          <p:nvPr>
            <p:ph type="body" sz="quarter" idx="20"/>
          </p:nvPr>
        </p:nvSpPr>
        <p:spPr/>
        <p:txBody>
          <a:bodyPr/>
          <a:lstStyle/>
          <a:p>
            <a:endParaRPr lang="en-US"/>
          </a:p>
        </p:txBody>
      </p:sp>
      <p:sp>
        <p:nvSpPr>
          <p:cNvPr id="2" name="rectHighlight">
            <a:extLst>
              <a:ext uri="{FF2B5EF4-FFF2-40B4-BE49-F238E27FC236}">
                <a16:creationId xmlns:a16="http://schemas.microsoft.com/office/drawing/2014/main" id="{64EE1358-8DAE-2AFC-DB0D-5C6CAD274AC4}"/>
              </a:ext>
            </a:extLst>
          </p:cNvPr>
          <p:cNvSpPr/>
          <p:nvPr/>
        </p:nvSpPr>
        <p:spPr>
          <a:xfrm>
            <a:off x="38790" y="27183"/>
            <a:ext cx="1965252" cy="588427"/>
          </a:xfrm>
          <a:prstGeom prst="roundRect">
            <a:avLst/>
          </a:prstGeom>
          <a:noFill/>
          <a:ln w="5715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solidFill>
            </a:endParaRPr>
          </a:p>
        </p:txBody>
      </p:sp>
      <p:cxnSp>
        <p:nvCxnSpPr>
          <p:cNvPr id="51" name="Straight Arrow Connector 50">
            <a:extLst>
              <a:ext uri="{FF2B5EF4-FFF2-40B4-BE49-F238E27FC236}">
                <a16:creationId xmlns:a16="http://schemas.microsoft.com/office/drawing/2014/main" id="{F112FAB8-8D57-4D41-3A5B-B539F56C5046}"/>
              </a:ext>
            </a:extLst>
          </p:cNvPr>
          <p:cNvCxnSpPr>
            <a:cxnSpLocks/>
            <a:stCxn id="79" idx="3"/>
            <a:endCxn id="52" idx="1"/>
          </p:cNvCxnSpPr>
          <p:nvPr/>
        </p:nvCxnSpPr>
        <p:spPr>
          <a:xfrm>
            <a:off x="5549900" y="1980431"/>
            <a:ext cx="2329199" cy="0"/>
          </a:xfrm>
          <a:prstGeom prst="straightConnector1">
            <a:avLst/>
          </a:prstGeom>
          <a:ln w="571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52" name="Rectangle: Rounded Corners 51">
            <a:extLst>
              <a:ext uri="{FF2B5EF4-FFF2-40B4-BE49-F238E27FC236}">
                <a16:creationId xmlns:a16="http://schemas.microsoft.com/office/drawing/2014/main" id="{E6939714-9274-5D21-AFE8-582666862D62}"/>
              </a:ext>
            </a:extLst>
          </p:cNvPr>
          <p:cNvSpPr/>
          <p:nvPr/>
        </p:nvSpPr>
        <p:spPr>
          <a:xfrm>
            <a:off x="7879099" y="843014"/>
            <a:ext cx="3747752" cy="2274833"/>
          </a:xfrm>
          <a:prstGeom prst="roundRect">
            <a:avLst/>
          </a:prstGeom>
          <a:solidFill>
            <a:srgbClr val="8064A2"/>
          </a:solidFill>
          <a:ln w="38100">
            <a:solidFill>
              <a:srgbClr val="8064A2"/>
            </a:solidFill>
          </a:ln>
        </p:spPr>
        <p:style>
          <a:lnRef idx="2">
            <a:schemeClr val="accent1">
              <a:shade val="15000"/>
            </a:schemeClr>
          </a:lnRef>
          <a:fillRef idx="1">
            <a:schemeClr val="accent1"/>
          </a:fillRef>
          <a:effectRef idx="0">
            <a:schemeClr val="accent1"/>
          </a:effectRef>
          <a:fontRef idx="minor">
            <a:schemeClr val="lt1"/>
          </a:fontRef>
        </p:style>
        <p:txBody>
          <a:bodyPr rtlCol="0" anchor="t">
            <a:normAutofit/>
          </a:bodyPr>
          <a:lstStyle/>
          <a:p>
            <a:pPr algn="ctr"/>
            <a:r>
              <a:rPr lang="en-US" sz="2800" dirty="0"/>
              <a:t>Multimodal Web Page</a:t>
            </a:r>
          </a:p>
        </p:txBody>
      </p:sp>
      <p:pic>
        <p:nvPicPr>
          <p:cNvPr id="53" name="Graphic 52" descr="Document with solid fill">
            <a:extLst>
              <a:ext uri="{FF2B5EF4-FFF2-40B4-BE49-F238E27FC236}">
                <a16:creationId xmlns:a16="http://schemas.microsoft.com/office/drawing/2014/main" id="{ADDEEC15-CFDD-14A9-2B41-E615D00314D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220886" y="1528804"/>
            <a:ext cx="913591" cy="913591"/>
          </a:xfrm>
          <a:prstGeom prst="rect">
            <a:avLst/>
          </a:prstGeom>
        </p:spPr>
      </p:pic>
      <p:pic>
        <p:nvPicPr>
          <p:cNvPr id="54" name="Graphic 53" descr="Volume with solid fill">
            <a:extLst>
              <a:ext uri="{FF2B5EF4-FFF2-40B4-BE49-F238E27FC236}">
                <a16:creationId xmlns:a16="http://schemas.microsoft.com/office/drawing/2014/main" id="{8B1B9653-FC08-4B9F-6304-75033F6E6A8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278113" y="1528804"/>
            <a:ext cx="913591" cy="913591"/>
          </a:xfrm>
          <a:prstGeom prst="rect">
            <a:avLst/>
          </a:prstGeom>
        </p:spPr>
      </p:pic>
      <p:pic>
        <p:nvPicPr>
          <p:cNvPr id="55" name="Graphic 54" descr="Eye with solid fill">
            <a:extLst>
              <a:ext uri="{FF2B5EF4-FFF2-40B4-BE49-F238E27FC236}">
                <a16:creationId xmlns:a16="http://schemas.microsoft.com/office/drawing/2014/main" id="{3FB7102D-892F-86FB-6FD9-42861CA655F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307056" y="1535337"/>
            <a:ext cx="913591" cy="913591"/>
          </a:xfrm>
          <a:prstGeom prst="rect">
            <a:avLst/>
          </a:prstGeom>
        </p:spPr>
      </p:pic>
      <p:sp>
        <p:nvSpPr>
          <p:cNvPr id="56" name="Rectangle 55">
            <a:extLst>
              <a:ext uri="{FF2B5EF4-FFF2-40B4-BE49-F238E27FC236}">
                <a16:creationId xmlns:a16="http://schemas.microsoft.com/office/drawing/2014/main" id="{5874DE38-7DCC-E1DC-721E-D9858FE5F4AE}"/>
              </a:ext>
            </a:extLst>
          </p:cNvPr>
          <p:cNvSpPr/>
          <p:nvPr/>
        </p:nvSpPr>
        <p:spPr>
          <a:xfrm>
            <a:off x="8229600" y="2433513"/>
            <a:ext cx="904877" cy="29591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rmAutofit fontScale="77500" lnSpcReduction="20000"/>
          </a:bodyPr>
          <a:lstStyle/>
          <a:p>
            <a:pPr algn="ctr"/>
            <a:r>
              <a:rPr lang="en-US" sz="2100" dirty="0"/>
              <a:t>Read</a:t>
            </a:r>
            <a:endParaRPr lang="en-US" dirty="0"/>
          </a:p>
        </p:txBody>
      </p:sp>
      <p:sp>
        <p:nvSpPr>
          <p:cNvPr id="57" name="Rectangle 56">
            <a:extLst>
              <a:ext uri="{FF2B5EF4-FFF2-40B4-BE49-F238E27FC236}">
                <a16:creationId xmlns:a16="http://schemas.microsoft.com/office/drawing/2014/main" id="{B324E3CD-BE94-4633-C577-5A9E529873C1}"/>
              </a:ext>
            </a:extLst>
          </p:cNvPr>
          <p:cNvSpPr/>
          <p:nvPr/>
        </p:nvSpPr>
        <p:spPr>
          <a:xfrm>
            <a:off x="9272684" y="2433513"/>
            <a:ext cx="904877" cy="29591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600" dirty="0"/>
              <a:t>Listen</a:t>
            </a:r>
          </a:p>
        </p:txBody>
      </p:sp>
      <p:sp>
        <p:nvSpPr>
          <p:cNvPr id="58" name="Rectangle 57">
            <a:extLst>
              <a:ext uri="{FF2B5EF4-FFF2-40B4-BE49-F238E27FC236}">
                <a16:creationId xmlns:a16="http://schemas.microsoft.com/office/drawing/2014/main" id="{8FDDDD3E-7099-77E3-C6BE-FBE19254EC9F}"/>
              </a:ext>
            </a:extLst>
          </p:cNvPr>
          <p:cNvSpPr/>
          <p:nvPr/>
        </p:nvSpPr>
        <p:spPr>
          <a:xfrm>
            <a:off x="10315768" y="2433513"/>
            <a:ext cx="904878" cy="29591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t>Watch</a:t>
            </a:r>
          </a:p>
        </p:txBody>
      </p:sp>
      <p:pic>
        <p:nvPicPr>
          <p:cNvPr id="59" name="WatchYouTubePicture" descr="http://www.logospike.com/wp-content/uploads/2014/11/Youtube_logo-4.png">
            <a:hlinkClick r:id="rId12" tooltip="Goto YouTube.com"/>
            <a:extLst>
              <a:ext uri="{FF2B5EF4-FFF2-40B4-BE49-F238E27FC236}">
                <a16:creationId xmlns:a16="http://schemas.microsoft.com/office/drawing/2014/main" id="{408969A8-4E6E-9ED1-CC8F-C1AFEB45BFFE}"/>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879098" y="4482368"/>
            <a:ext cx="1603908" cy="630039"/>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10" descr="adobe-pdf-icon-logo-png-transparent - BioChek, A Hygiena® Company">
            <a:extLst>
              <a:ext uri="{FF2B5EF4-FFF2-40B4-BE49-F238E27FC236}">
                <a16:creationId xmlns:a16="http://schemas.microsoft.com/office/drawing/2014/main" id="{927EC4DF-4CA5-5F24-9CAF-DAD872F16C31}"/>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51294" y="3682650"/>
            <a:ext cx="788772" cy="829276"/>
          </a:xfrm>
          <a:prstGeom prst="rect">
            <a:avLst/>
          </a:prstGeom>
          <a:noFill/>
          <a:extLst>
            <a:ext uri="{909E8E84-426E-40DD-AFC4-6F175D3DCCD1}">
              <a14:hiddenFill xmlns:a14="http://schemas.microsoft.com/office/drawing/2010/main">
                <a:solidFill>
                  <a:srgbClr val="FFFFFF"/>
                </a:solidFill>
              </a14:hiddenFill>
            </a:ext>
          </a:extLst>
        </p:spPr>
      </p:pic>
      <p:cxnSp>
        <p:nvCxnSpPr>
          <p:cNvPr id="61" name="Straight Arrow Connector 60">
            <a:extLst>
              <a:ext uri="{FF2B5EF4-FFF2-40B4-BE49-F238E27FC236}">
                <a16:creationId xmlns:a16="http://schemas.microsoft.com/office/drawing/2014/main" id="{C66C94F6-DC8D-6B4D-1A32-D29BCDCB5EF0}"/>
              </a:ext>
            </a:extLst>
          </p:cNvPr>
          <p:cNvCxnSpPr>
            <a:cxnSpLocks/>
            <a:endCxn id="60" idx="0"/>
          </p:cNvCxnSpPr>
          <p:nvPr/>
        </p:nvCxnSpPr>
        <p:spPr>
          <a:xfrm>
            <a:off x="938461" y="3117847"/>
            <a:ext cx="7219" cy="564803"/>
          </a:xfrm>
          <a:prstGeom prst="straightConnector1">
            <a:avLst/>
          </a:prstGeom>
          <a:ln w="38100">
            <a:solidFill>
              <a:srgbClr val="4F81BD"/>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CDDB8B70-071B-3A0E-0BDC-28BA4E699C85}"/>
              </a:ext>
            </a:extLst>
          </p:cNvPr>
          <p:cNvCxnSpPr>
            <a:cxnSpLocks/>
            <a:stCxn id="79" idx="2"/>
          </p:cNvCxnSpPr>
          <p:nvPr/>
        </p:nvCxnSpPr>
        <p:spPr>
          <a:xfrm>
            <a:off x="2989908" y="3117847"/>
            <a:ext cx="0" cy="1235528"/>
          </a:xfrm>
          <a:prstGeom prst="straightConnector1">
            <a:avLst/>
          </a:prstGeom>
          <a:ln w="38100">
            <a:solidFill>
              <a:srgbClr val="4F81BD"/>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96F1853D-2C72-8AC3-B2A9-2E72D034FC1D}"/>
              </a:ext>
            </a:extLst>
          </p:cNvPr>
          <p:cNvCxnSpPr>
            <a:cxnSpLocks/>
          </p:cNvCxnSpPr>
          <p:nvPr/>
        </p:nvCxnSpPr>
        <p:spPr>
          <a:xfrm>
            <a:off x="8407400" y="3117847"/>
            <a:ext cx="0" cy="709009"/>
          </a:xfrm>
          <a:prstGeom prst="straightConnector1">
            <a:avLst/>
          </a:prstGeom>
          <a:ln w="381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64" name="Rectangle: Rounded Corners 63">
            <a:extLst>
              <a:ext uri="{FF2B5EF4-FFF2-40B4-BE49-F238E27FC236}">
                <a16:creationId xmlns:a16="http://schemas.microsoft.com/office/drawing/2014/main" id="{A0BFCA0D-C266-9F35-3FB4-8A4E081BAF4D}"/>
              </a:ext>
            </a:extLst>
          </p:cNvPr>
          <p:cNvSpPr/>
          <p:nvPr/>
        </p:nvSpPr>
        <p:spPr>
          <a:xfrm>
            <a:off x="3524252" y="3826856"/>
            <a:ext cx="5240439" cy="43287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normAutofit lnSpcReduction="10000"/>
          </a:bodyPr>
          <a:lstStyle/>
          <a:p>
            <a:pPr algn="ctr"/>
            <a:r>
              <a:rPr lang="en-US" sz="2000" dirty="0"/>
              <a:t>Learning Management Systems (LMS)</a:t>
            </a:r>
          </a:p>
        </p:txBody>
      </p:sp>
      <p:cxnSp>
        <p:nvCxnSpPr>
          <p:cNvPr id="65" name="Straight Arrow Connector 64">
            <a:extLst>
              <a:ext uri="{FF2B5EF4-FFF2-40B4-BE49-F238E27FC236}">
                <a16:creationId xmlns:a16="http://schemas.microsoft.com/office/drawing/2014/main" id="{1B55570A-F769-9CF8-8C42-934A7B2C8277}"/>
              </a:ext>
            </a:extLst>
          </p:cNvPr>
          <p:cNvCxnSpPr>
            <a:cxnSpLocks/>
          </p:cNvCxnSpPr>
          <p:nvPr/>
        </p:nvCxnSpPr>
        <p:spPr>
          <a:xfrm>
            <a:off x="1894667" y="3117847"/>
            <a:ext cx="0" cy="2190453"/>
          </a:xfrm>
          <a:prstGeom prst="straightConnector1">
            <a:avLst/>
          </a:prstGeom>
          <a:ln w="38100">
            <a:solidFill>
              <a:srgbClr val="4F81BD"/>
            </a:solidFill>
            <a:tailEnd type="triangle"/>
          </a:ln>
        </p:spPr>
        <p:style>
          <a:lnRef idx="1">
            <a:schemeClr val="accent1"/>
          </a:lnRef>
          <a:fillRef idx="0">
            <a:schemeClr val="accent1"/>
          </a:fillRef>
          <a:effectRef idx="0">
            <a:schemeClr val="accent1"/>
          </a:effectRef>
          <a:fontRef idx="minor">
            <a:schemeClr val="tx1"/>
          </a:fontRef>
        </p:style>
      </p:cxnSp>
      <p:sp>
        <p:nvSpPr>
          <p:cNvPr id="68" name="Rectangle: Rounded Corners 67">
            <a:extLst>
              <a:ext uri="{FF2B5EF4-FFF2-40B4-BE49-F238E27FC236}">
                <a16:creationId xmlns:a16="http://schemas.microsoft.com/office/drawing/2014/main" id="{26CACE8C-E5EC-5B05-CD84-E0DF9EAFD04C}"/>
              </a:ext>
            </a:extLst>
          </p:cNvPr>
          <p:cNvSpPr/>
          <p:nvPr/>
        </p:nvSpPr>
        <p:spPr>
          <a:xfrm>
            <a:off x="6642104" y="5308300"/>
            <a:ext cx="4984746" cy="850997"/>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t">
            <a:normAutofit/>
          </a:bodyPr>
          <a:lstStyle/>
          <a:p>
            <a:r>
              <a:rPr lang="en-US" sz="2200" dirty="0"/>
              <a:t>Slide</a:t>
            </a:r>
            <a:br>
              <a:rPr lang="en-US" sz="2200" dirty="0"/>
            </a:br>
            <a:r>
              <a:rPr lang="en-US" sz="2200" dirty="0"/>
              <a:t>Sharing</a:t>
            </a:r>
          </a:p>
        </p:txBody>
      </p:sp>
      <p:pic>
        <p:nvPicPr>
          <p:cNvPr id="1036" name="Picture 12" descr="Download Powerpoint, Powerpoint Logo, Icon. Royalty-Free Stock Illustration  Image - Pixabay">
            <a:extLst>
              <a:ext uri="{FF2B5EF4-FFF2-40B4-BE49-F238E27FC236}">
                <a16:creationId xmlns:a16="http://schemas.microsoft.com/office/drawing/2014/main" id="{02E5A054-501A-38A6-2A36-75AF78E6E647}"/>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27772" t="12921" r="28937" b="13855"/>
          <a:stretch/>
        </p:blipFill>
        <p:spPr bwMode="auto">
          <a:xfrm>
            <a:off x="2200465" y="1008654"/>
            <a:ext cx="1419341" cy="1350395"/>
          </a:xfrm>
          <a:prstGeom prst="rect">
            <a:avLst/>
          </a:prstGeom>
          <a:noFill/>
          <a:extLst>
            <a:ext uri="{909E8E84-426E-40DD-AFC4-6F175D3DCCD1}">
              <a14:hiddenFill xmlns:a14="http://schemas.microsoft.com/office/drawing/2010/main">
                <a:solidFill>
                  <a:srgbClr val="FFFFFF"/>
                </a:solidFill>
              </a14:hiddenFill>
            </a:ext>
          </a:extLst>
        </p:spPr>
      </p:pic>
      <p:sp>
        <p:nvSpPr>
          <p:cNvPr id="73" name="Rectangle 72">
            <a:extLst>
              <a:ext uri="{FF2B5EF4-FFF2-40B4-BE49-F238E27FC236}">
                <a16:creationId xmlns:a16="http://schemas.microsoft.com/office/drawing/2014/main" id="{5574DA0E-D083-4C6F-3B7E-3E8E4AF6BD59}"/>
              </a:ext>
            </a:extLst>
          </p:cNvPr>
          <p:cNvSpPr/>
          <p:nvPr/>
        </p:nvSpPr>
        <p:spPr>
          <a:xfrm>
            <a:off x="2200466" y="2366691"/>
            <a:ext cx="1419340" cy="58835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i="0" dirty="0">
                <a:solidFill>
                  <a:srgbClr val="D65132"/>
                </a:solidFill>
                <a:effectLst/>
                <a:latin typeface="Segoe UI" panose="020B0502040204020203" pitchFamily="34" charset="0"/>
              </a:rPr>
              <a:t>Microsoft PowerPoint</a:t>
            </a:r>
          </a:p>
        </p:txBody>
      </p:sp>
      <p:pic>
        <p:nvPicPr>
          <p:cNvPr id="1040" name="Picture 16" descr="Keynote (presentation software) - Wikipedia">
            <a:extLst>
              <a:ext uri="{FF2B5EF4-FFF2-40B4-BE49-F238E27FC236}">
                <a16:creationId xmlns:a16="http://schemas.microsoft.com/office/drawing/2014/main" id="{76D10BDF-3C9D-8E75-5F1B-351BE53DE308}"/>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l="8207" t="7430" r="8207" b="7036"/>
          <a:stretch/>
        </p:blipFill>
        <p:spPr bwMode="auto">
          <a:xfrm>
            <a:off x="4083310" y="1027229"/>
            <a:ext cx="1202002" cy="1229996"/>
          </a:xfrm>
          <a:prstGeom prst="rect">
            <a:avLst/>
          </a:prstGeom>
          <a:noFill/>
          <a:extLst>
            <a:ext uri="{909E8E84-426E-40DD-AFC4-6F175D3DCCD1}">
              <a14:hiddenFill xmlns:a14="http://schemas.microsoft.com/office/drawing/2010/main">
                <a:solidFill>
                  <a:srgbClr val="FFFFFF"/>
                </a:solidFill>
              </a14:hiddenFill>
            </a:ext>
          </a:extLst>
        </p:spPr>
      </p:pic>
      <p:sp>
        <p:nvSpPr>
          <p:cNvPr id="74" name="Rectangle 73">
            <a:extLst>
              <a:ext uri="{FF2B5EF4-FFF2-40B4-BE49-F238E27FC236}">
                <a16:creationId xmlns:a16="http://schemas.microsoft.com/office/drawing/2014/main" id="{F82AC8D9-F699-6401-BD5B-EEFF15E8EED1}"/>
              </a:ext>
            </a:extLst>
          </p:cNvPr>
          <p:cNvSpPr/>
          <p:nvPr/>
        </p:nvSpPr>
        <p:spPr>
          <a:xfrm>
            <a:off x="4083311" y="2366691"/>
            <a:ext cx="1202001" cy="58835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i="0" u="none" strike="noStrike" dirty="0">
                <a:solidFill>
                  <a:srgbClr val="1F8AF4"/>
                </a:solidFill>
                <a:effectLst/>
                <a:latin typeface="SF Pro Display"/>
              </a:rPr>
              <a:t>Apple</a:t>
            </a:r>
          </a:p>
          <a:p>
            <a:pPr algn="ctr"/>
            <a:r>
              <a:rPr lang="en-US" b="1" i="0" u="none" strike="noStrike" dirty="0">
                <a:solidFill>
                  <a:srgbClr val="1F8AF4"/>
                </a:solidFill>
                <a:effectLst/>
                <a:latin typeface="SF Pro Display"/>
              </a:rPr>
              <a:t>Keynote</a:t>
            </a:r>
            <a:endParaRPr lang="en-US" b="1" i="0" dirty="0">
              <a:solidFill>
                <a:srgbClr val="1F8AF4"/>
              </a:solidFill>
              <a:effectLst/>
              <a:latin typeface="Segoe UI" panose="020B0502040204020203" pitchFamily="34" charset="0"/>
            </a:endParaRPr>
          </a:p>
        </p:txBody>
      </p:sp>
      <p:pic>
        <p:nvPicPr>
          <p:cNvPr id="1042" name="Picture 18" descr="How to Embed a Video in Google Slides">
            <a:extLst>
              <a:ext uri="{FF2B5EF4-FFF2-40B4-BE49-F238E27FC236}">
                <a16:creationId xmlns:a16="http://schemas.microsoft.com/office/drawing/2014/main" id="{2A4A30CE-6B76-D12D-14B8-5204466568FF}"/>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l="17489" t="36998" r="71843" b="36990"/>
          <a:stretch/>
        </p:blipFill>
        <p:spPr bwMode="auto">
          <a:xfrm>
            <a:off x="721129" y="948704"/>
            <a:ext cx="1027539" cy="1409308"/>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18_DUP2" descr="How to Embed a Video in Google Slides">
            <a:extLst>
              <a:ext uri="{FF2B5EF4-FFF2-40B4-BE49-F238E27FC236}">
                <a16:creationId xmlns:a16="http://schemas.microsoft.com/office/drawing/2014/main" id="{AEA132D5-5831-F2E0-243F-335423F76350}"/>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l="29903" t="41652" r="40628" b="39617"/>
          <a:stretch/>
        </p:blipFill>
        <p:spPr bwMode="auto">
          <a:xfrm>
            <a:off x="878448" y="2405640"/>
            <a:ext cx="738008" cy="263865"/>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18_DUP3" descr="How to Embed a Video in Google Slides">
            <a:extLst>
              <a:ext uri="{FF2B5EF4-FFF2-40B4-BE49-F238E27FC236}">
                <a16:creationId xmlns:a16="http://schemas.microsoft.com/office/drawing/2014/main" id="{2FFE37C3-DA3B-74EE-8FA1-364829E5D654}"/>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l="59588" t="43090" r="17670" b="42057"/>
          <a:stretch/>
        </p:blipFill>
        <p:spPr bwMode="auto">
          <a:xfrm>
            <a:off x="938461" y="2669505"/>
            <a:ext cx="601268" cy="220895"/>
          </a:xfrm>
          <a:prstGeom prst="rect">
            <a:avLst/>
          </a:prstGeom>
          <a:noFill/>
          <a:extLst>
            <a:ext uri="{909E8E84-426E-40DD-AFC4-6F175D3DCCD1}">
              <a14:hiddenFill xmlns:a14="http://schemas.microsoft.com/office/drawing/2010/main">
                <a:solidFill>
                  <a:srgbClr val="FFFFFF"/>
                </a:solidFill>
              </a14:hiddenFill>
            </a:ext>
          </a:extLst>
        </p:spPr>
      </p:pic>
      <p:sp>
        <p:nvSpPr>
          <p:cNvPr id="79" name="Rectangle: Rounded Corners 78">
            <a:extLst>
              <a:ext uri="{FF2B5EF4-FFF2-40B4-BE49-F238E27FC236}">
                <a16:creationId xmlns:a16="http://schemas.microsoft.com/office/drawing/2014/main" id="{47159645-96E2-084F-3D8A-27C217A39518}"/>
              </a:ext>
            </a:extLst>
          </p:cNvPr>
          <p:cNvSpPr/>
          <p:nvPr/>
        </p:nvSpPr>
        <p:spPr>
          <a:xfrm>
            <a:off x="429915" y="843014"/>
            <a:ext cx="5119985" cy="2274833"/>
          </a:xfrm>
          <a:prstGeom prst="roundRect">
            <a:avLst/>
          </a:prstGeom>
          <a:noFill/>
          <a:ln w="57150">
            <a:solidFill>
              <a:srgbClr val="8064A2"/>
            </a:solidFill>
          </a:ln>
        </p:spPr>
        <p:style>
          <a:lnRef idx="2">
            <a:schemeClr val="accent1">
              <a:shade val="15000"/>
            </a:schemeClr>
          </a:lnRef>
          <a:fillRef idx="1">
            <a:schemeClr val="accent1"/>
          </a:fillRef>
          <a:effectRef idx="0">
            <a:schemeClr val="accent1"/>
          </a:effectRef>
          <a:fontRef idx="minor">
            <a:schemeClr val="lt1"/>
          </a:fontRef>
        </p:style>
        <p:txBody>
          <a:bodyPr rtlCol="0" anchor="t">
            <a:normAutofit/>
          </a:bodyPr>
          <a:lstStyle/>
          <a:p>
            <a:pPr algn="ctr"/>
            <a:endParaRPr lang="en-US" sz="2200" dirty="0"/>
          </a:p>
        </p:txBody>
      </p:sp>
      <p:pic>
        <p:nvPicPr>
          <p:cNvPr id="91" name="Content Placeholder 17" descr="A close up of a sign&#10;&#10;Description automatically generated">
            <a:extLst>
              <a:ext uri="{FF2B5EF4-FFF2-40B4-BE49-F238E27FC236}">
                <a16:creationId xmlns:a16="http://schemas.microsoft.com/office/drawing/2014/main" id="{C1FF1256-0142-5F98-5B06-A8CBBAF3FF88}"/>
              </a:ext>
            </a:extLst>
          </p:cNvPr>
          <p:cNvPicPr>
            <a:picLocks noChangeAspect="1"/>
          </p:cNvPicPr>
          <p:nvPr/>
        </p:nvPicPr>
        <p:blipFill>
          <a:blip r:embed="rId18"/>
          <a:srcRect l="2131" t="6699" r="7979" b="33540"/>
          <a:stretch/>
        </p:blipFill>
        <p:spPr>
          <a:xfrm>
            <a:off x="5845488" y="2116161"/>
            <a:ext cx="1738022" cy="512746"/>
          </a:xfrm>
          <a:prstGeom prst="rect">
            <a:avLst/>
          </a:prstGeom>
        </p:spPr>
      </p:pic>
      <p:sp>
        <p:nvSpPr>
          <p:cNvPr id="104" name="Rectangle: Rounded Corners 103">
            <a:extLst>
              <a:ext uri="{FF2B5EF4-FFF2-40B4-BE49-F238E27FC236}">
                <a16:creationId xmlns:a16="http://schemas.microsoft.com/office/drawing/2014/main" id="{AB968858-68DD-8F15-01C1-CAFCDB0A3272}"/>
              </a:ext>
            </a:extLst>
          </p:cNvPr>
          <p:cNvSpPr/>
          <p:nvPr/>
        </p:nvSpPr>
        <p:spPr>
          <a:xfrm>
            <a:off x="2637941" y="4353375"/>
            <a:ext cx="2909677" cy="850997"/>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pPr algn="r"/>
            <a:r>
              <a:rPr lang="en-US" sz="3200" dirty="0"/>
              <a:t>Video</a:t>
            </a:r>
          </a:p>
        </p:txBody>
      </p:sp>
      <p:sp>
        <p:nvSpPr>
          <p:cNvPr id="105" name="Rectangle: Rounded Corners 104">
            <a:extLst>
              <a:ext uri="{FF2B5EF4-FFF2-40B4-BE49-F238E27FC236}">
                <a16:creationId xmlns:a16="http://schemas.microsoft.com/office/drawing/2014/main" id="{6BAE7637-64C4-C17F-F287-DF1D2FB8EAC9}"/>
              </a:ext>
            </a:extLst>
          </p:cNvPr>
          <p:cNvSpPr/>
          <p:nvPr/>
        </p:nvSpPr>
        <p:spPr>
          <a:xfrm>
            <a:off x="1340066" y="5308300"/>
            <a:ext cx="4209832" cy="850997"/>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pPr algn="r"/>
            <a:r>
              <a:rPr lang="en-US" sz="3600" dirty="0"/>
              <a:t>Images</a:t>
            </a:r>
          </a:p>
        </p:txBody>
      </p:sp>
      <p:pic>
        <p:nvPicPr>
          <p:cNvPr id="1026" name="Picture 2" descr="How to Choose the Best Image File Format for Your Website › Design Powers">
            <a:extLst>
              <a:ext uri="{FF2B5EF4-FFF2-40B4-BE49-F238E27FC236}">
                <a16:creationId xmlns:a16="http://schemas.microsoft.com/office/drawing/2014/main" id="{F532F2DB-B674-0765-8EF5-50CF59C485F8}"/>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l="2677" t="22610" r="1585" b="23163"/>
          <a:stretch/>
        </p:blipFill>
        <p:spPr bwMode="auto">
          <a:xfrm>
            <a:off x="1426664" y="5364942"/>
            <a:ext cx="2448233" cy="72524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A Comprehensive Guide to Different Types of Video Formats">
            <a:extLst>
              <a:ext uri="{FF2B5EF4-FFF2-40B4-BE49-F238E27FC236}">
                <a16:creationId xmlns:a16="http://schemas.microsoft.com/office/drawing/2014/main" id="{F69A53B9-5063-83F7-FA88-2154265A9E13}"/>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l="1805" t="34769" r="40551" b="24725"/>
          <a:stretch/>
        </p:blipFill>
        <p:spPr bwMode="auto">
          <a:xfrm>
            <a:off x="2704892" y="4494890"/>
            <a:ext cx="1651784" cy="580341"/>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Vimeo Review | PCMag">
            <a:hlinkClick r:id="rId21" tooltip="Goto vimeo.com"/>
            <a:extLst>
              <a:ext uri="{FF2B5EF4-FFF2-40B4-BE49-F238E27FC236}">
                <a16:creationId xmlns:a16="http://schemas.microsoft.com/office/drawing/2014/main" id="{72305F47-BBEA-A386-E257-206DC6587030}"/>
              </a:ext>
            </a:extLst>
          </p:cNvPr>
          <p:cNvPicPr>
            <a:picLocks noChangeAspect="1" noChangeArrowheads="1"/>
          </p:cNvPicPr>
          <p:nvPr/>
        </p:nvPicPr>
        <p:blipFill rotWithShape="1">
          <a:blip r:embed="rId22">
            <a:extLst>
              <a:ext uri="{28A0092B-C50C-407E-A947-70E740481C1C}">
                <a14:useLocalDpi xmlns:a14="http://schemas.microsoft.com/office/drawing/2010/main" val="0"/>
              </a:ext>
            </a:extLst>
          </a:blip>
          <a:srcRect l="11073" t="27766" r="10201" b="25501"/>
          <a:stretch/>
        </p:blipFill>
        <p:spPr bwMode="auto">
          <a:xfrm>
            <a:off x="9610747" y="4479692"/>
            <a:ext cx="1884091" cy="630039"/>
          </a:xfrm>
          <a:prstGeom prst="rect">
            <a:avLst/>
          </a:prstGeom>
          <a:noFill/>
          <a:extLst>
            <a:ext uri="{909E8E84-426E-40DD-AFC4-6F175D3DCCD1}">
              <a14:hiddenFill xmlns:a14="http://schemas.microsoft.com/office/drawing/2010/main">
                <a:solidFill>
                  <a:srgbClr val="FFFFFF"/>
                </a:solidFill>
              </a14:hiddenFill>
            </a:ext>
          </a:extLst>
        </p:spPr>
      </p:pic>
      <p:pic>
        <p:nvPicPr>
          <p:cNvPr id="1048" name="Picture 24" descr="How to Use Slideshare to Market your Business - Wishpond Blog">
            <a:hlinkClick r:id="rId23" tooltip="Goto slideshare.net"/>
            <a:extLst>
              <a:ext uri="{FF2B5EF4-FFF2-40B4-BE49-F238E27FC236}">
                <a16:creationId xmlns:a16="http://schemas.microsoft.com/office/drawing/2014/main" id="{81C6BF79-5790-9E9B-AEAC-1850DD3D1FD7}"/>
              </a:ext>
            </a:extLst>
          </p:cNvPr>
          <p:cNvPicPr>
            <a:picLocks noChangeAspect="1" noChangeArrowheads="1"/>
          </p:cNvPicPr>
          <p:nvPr/>
        </p:nvPicPr>
        <p:blipFill rotWithShape="1">
          <a:blip r:embed="rId24">
            <a:extLst>
              <a:ext uri="{28A0092B-C50C-407E-A947-70E740481C1C}">
                <a14:useLocalDpi xmlns:a14="http://schemas.microsoft.com/office/drawing/2010/main" val="0"/>
              </a:ext>
            </a:extLst>
          </a:blip>
          <a:srcRect l="2268" t="10617" r="1921" b="10219"/>
          <a:stretch/>
        </p:blipFill>
        <p:spPr bwMode="auto">
          <a:xfrm>
            <a:off x="7879098" y="5473257"/>
            <a:ext cx="1603908" cy="455878"/>
          </a:xfrm>
          <a:prstGeom prst="rect">
            <a:avLst/>
          </a:prstGeom>
          <a:noFill/>
          <a:extLst>
            <a:ext uri="{909E8E84-426E-40DD-AFC4-6F175D3DCCD1}">
              <a14:hiddenFill xmlns:a14="http://schemas.microsoft.com/office/drawing/2010/main">
                <a:solidFill>
                  <a:srgbClr val="FFFFFF"/>
                </a:solidFill>
              </a14:hiddenFill>
            </a:ext>
          </a:extLst>
        </p:spPr>
      </p:pic>
      <p:cxnSp>
        <p:nvCxnSpPr>
          <p:cNvPr id="126" name="Straight Arrow Connector 125">
            <a:extLst>
              <a:ext uri="{FF2B5EF4-FFF2-40B4-BE49-F238E27FC236}">
                <a16:creationId xmlns:a16="http://schemas.microsoft.com/office/drawing/2014/main" id="{0726BDA0-D97F-D3B6-6D5B-B04670F9AD8E}"/>
              </a:ext>
            </a:extLst>
          </p:cNvPr>
          <p:cNvCxnSpPr>
            <a:cxnSpLocks/>
            <a:stCxn id="104" idx="3"/>
            <a:endCxn id="112" idx="1"/>
          </p:cNvCxnSpPr>
          <p:nvPr/>
        </p:nvCxnSpPr>
        <p:spPr>
          <a:xfrm>
            <a:off x="5547618" y="4778874"/>
            <a:ext cx="1094487" cy="2907"/>
          </a:xfrm>
          <a:prstGeom prst="straightConnector1">
            <a:avLst/>
          </a:prstGeom>
          <a:ln w="57150">
            <a:solidFill>
              <a:srgbClr val="4F81BD"/>
            </a:solidFill>
            <a:tailEnd type="triangle"/>
          </a:ln>
        </p:spPr>
        <p:style>
          <a:lnRef idx="1">
            <a:schemeClr val="accent1"/>
          </a:lnRef>
          <a:fillRef idx="0">
            <a:schemeClr val="accent1"/>
          </a:fillRef>
          <a:effectRef idx="0">
            <a:schemeClr val="accent1"/>
          </a:effectRef>
          <a:fontRef idx="minor">
            <a:schemeClr val="tx1"/>
          </a:fontRef>
        </p:style>
      </p:cxnSp>
      <p:cxnSp>
        <p:nvCxnSpPr>
          <p:cNvPr id="1025" name="Straight Arrow Connector 1024">
            <a:extLst>
              <a:ext uri="{FF2B5EF4-FFF2-40B4-BE49-F238E27FC236}">
                <a16:creationId xmlns:a16="http://schemas.microsoft.com/office/drawing/2014/main" id="{01A1C364-9626-4B94-025A-8223071F5632}"/>
              </a:ext>
            </a:extLst>
          </p:cNvPr>
          <p:cNvCxnSpPr>
            <a:cxnSpLocks/>
            <a:stCxn id="105" idx="3"/>
            <a:endCxn id="68" idx="1"/>
          </p:cNvCxnSpPr>
          <p:nvPr/>
        </p:nvCxnSpPr>
        <p:spPr>
          <a:xfrm>
            <a:off x="5549898" y="5733799"/>
            <a:ext cx="1092206" cy="0"/>
          </a:xfrm>
          <a:prstGeom prst="straightConnector1">
            <a:avLst/>
          </a:prstGeom>
          <a:ln w="57150">
            <a:solidFill>
              <a:srgbClr val="4F81BD"/>
            </a:solidFill>
            <a:tailEnd type="triangle"/>
          </a:ln>
        </p:spPr>
        <p:style>
          <a:lnRef idx="1">
            <a:schemeClr val="accent1"/>
          </a:lnRef>
          <a:fillRef idx="0">
            <a:schemeClr val="accent1"/>
          </a:fillRef>
          <a:effectRef idx="0">
            <a:schemeClr val="accent1"/>
          </a:effectRef>
          <a:fontRef idx="minor">
            <a:schemeClr val="tx1"/>
          </a:fontRef>
        </p:style>
      </p:cxnSp>
      <p:pic>
        <p:nvPicPr>
          <p:cNvPr id="1034" name="Content Placeholder 1033" descr="A black and blue text&#10;&#10;AI-generated content may be incorrect.">
            <a:hlinkClick r:id="rId25" tooltip="Goto SpeakerDeck.com"/>
            <a:extLst>
              <a:ext uri="{FF2B5EF4-FFF2-40B4-BE49-F238E27FC236}">
                <a16:creationId xmlns:a16="http://schemas.microsoft.com/office/drawing/2014/main" id="{4106299D-7FB4-E241-8FEC-4F83B521082D}"/>
              </a:ext>
            </a:extLst>
          </p:cNvPr>
          <p:cNvPicPr>
            <a:picLocks noGrp="1" noChangeAspect="1"/>
          </p:cNvPicPr>
          <p:nvPr>
            <p:ph sz="half" idx="2"/>
          </p:nvPr>
        </p:nvPicPr>
        <p:blipFill>
          <a:blip r:embed="rId26"/>
          <a:stretch>
            <a:fillRect/>
          </a:stretch>
        </p:blipFill>
        <p:spPr>
          <a:xfrm>
            <a:off x="9554313" y="5473257"/>
            <a:ext cx="2001229" cy="455878"/>
          </a:xfrm>
        </p:spPr>
      </p:pic>
      <p:sp>
        <p:nvSpPr>
          <p:cNvPr id="1046" name="Rectangle: Rounded Corners 1045">
            <a:extLst>
              <a:ext uri="{FF2B5EF4-FFF2-40B4-BE49-F238E27FC236}">
                <a16:creationId xmlns:a16="http://schemas.microsoft.com/office/drawing/2014/main" id="{C7F145F6-4646-8B16-10B4-141801A69190}"/>
              </a:ext>
            </a:extLst>
          </p:cNvPr>
          <p:cNvSpPr/>
          <p:nvPr/>
        </p:nvSpPr>
        <p:spPr>
          <a:xfrm>
            <a:off x="8830245" y="3826856"/>
            <a:ext cx="2791946" cy="43287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normAutofit lnSpcReduction="10000"/>
          </a:bodyPr>
          <a:lstStyle/>
          <a:p>
            <a:pPr algn="ctr"/>
            <a:r>
              <a:rPr lang="en-US" sz="2000" dirty="0"/>
              <a:t>Your Website</a:t>
            </a:r>
          </a:p>
        </p:txBody>
      </p:sp>
      <p:cxnSp>
        <p:nvCxnSpPr>
          <p:cNvPr id="1047" name="Straight Arrow Connector 1046">
            <a:extLst>
              <a:ext uri="{FF2B5EF4-FFF2-40B4-BE49-F238E27FC236}">
                <a16:creationId xmlns:a16="http://schemas.microsoft.com/office/drawing/2014/main" id="{E44C741E-8C0C-577B-BEEF-713E74149256}"/>
              </a:ext>
            </a:extLst>
          </p:cNvPr>
          <p:cNvCxnSpPr>
            <a:cxnSpLocks/>
            <a:endCxn id="1046" idx="0"/>
          </p:cNvCxnSpPr>
          <p:nvPr/>
        </p:nvCxnSpPr>
        <p:spPr>
          <a:xfrm>
            <a:off x="10226218" y="3117847"/>
            <a:ext cx="0" cy="709009"/>
          </a:xfrm>
          <a:prstGeom prst="straightConnector1">
            <a:avLst/>
          </a:prstGeom>
          <a:ln w="381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1051" name="Rectangle 1050">
            <a:extLst>
              <a:ext uri="{FF2B5EF4-FFF2-40B4-BE49-F238E27FC236}">
                <a16:creationId xmlns:a16="http://schemas.microsoft.com/office/drawing/2014/main" id="{0622FBF8-304D-1082-3D39-E32DA6F082B2}"/>
              </a:ext>
            </a:extLst>
          </p:cNvPr>
          <p:cNvSpPr/>
          <p:nvPr/>
        </p:nvSpPr>
        <p:spPr>
          <a:xfrm>
            <a:off x="3934018" y="3273323"/>
            <a:ext cx="870715" cy="289027"/>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t>SCORM</a:t>
            </a:r>
          </a:p>
        </p:txBody>
      </p:sp>
      <p:sp>
        <p:nvSpPr>
          <p:cNvPr id="1052" name="Rectangle 1051">
            <a:extLst>
              <a:ext uri="{FF2B5EF4-FFF2-40B4-BE49-F238E27FC236}">
                <a16:creationId xmlns:a16="http://schemas.microsoft.com/office/drawing/2014/main" id="{C0DA6DC2-B1AA-D613-9323-13DEC027A7A8}"/>
              </a:ext>
            </a:extLst>
          </p:cNvPr>
          <p:cNvSpPr/>
          <p:nvPr/>
        </p:nvSpPr>
        <p:spPr>
          <a:xfrm>
            <a:off x="7972042" y="3273323"/>
            <a:ext cx="870715" cy="289027"/>
          </a:xfrm>
          <a:prstGeom prst="rect">
            <a:avLst/>
          </a:prstGeom>
          <a:solidFill>
            <a:srgbClr val="8064A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t>SCORM</a:t>
            </a:r>
          </a:p>
        </p:txBody>
      </p:sp>
      <p:pic>
        <p:nvPicPr>
          <p:cNvPr id="3" name="Slide1">
            <a:hlinkClick r:id="" action="ppaction://media"/>
            <a:extLst>
              <a:ext uri="{FF2B5EF4-FFF2-40B4-BE49-F238E27FC236}">
                <a16:creationId xmlns:a16="http://schemas.microsoft.com/office/drawing/2014/main" id="{8192DA64-B6F3-043F-AE26-432519EC982D}"/>
              </a:ext>
            </a:extLst>
          </p:cNvPr>
          <p:cNvPicPr>
            <a:picLocks noChangeAspect="1"/>
          </p:cNvPicPr>
          <p:nvPr>
            <a:audioFile r:link="rId3"/>
            <p:extLst>
              <p:ext uri="{DAA4B4D4-6D71-4841-9C94-3DE7FCFB9230}">
                <p14:media xmlns:p14="http://schemas.microsoft.com/office/powerpoint/2010/main" r:embed="rId2"/>
              </p:ext>
            </p:extLst>
          </p:nvPr>
        </p:nvPicPr>
        <p:blipFill>
          <a:blip r:embed="rId27"/>
          <a:stretch>
            <a:fillRect/>
          </a:stretch>
        </p:blipFill>
        <p:spPr>
          <a:xfrm>
            <a:off x="11430000" y="6096000"/>
            <a:ext cx="609600" cy="609600"/>
          </a:xfrm>
          <a:prstGeom prst="rect">
            <a:avLst/>
          </a:prstGeom>
        </p:spPr>
      </p:pic>
    </p:spTree>
    <p:custDataLst>
      <p:tags r:id="rId1"/>
    </p:custDataLst>
    <p:extLst>
      <p:ext uri="{BB962C8B-B14F-4D97-AF65-F5344CB8AC3E}">
        <p14:creationId xmlns:p14="http://schemas.microsoft.com/office/powerpoint/2010/main" val="623836634"/>
      </p:ext>
    </p:extLst>
  </p:cSld>
  <p:clrMapOvr>
    <a:masterClrMapping/>
  </p:clrMapOvr>
  <mc:AlternateContent xmlns:mc="http://schemas.openxmlformats.org/markup-compatibility/2006">
    <mc:Choice xmlns:p14="http://schemas.microsoft.com/office/powerpoint/2010/main" Requires="p14">
      <p:transition spd="slow" p14:dur="2000" advTm="61928"/>
    </mc:Choice>
    <mc:Fallback>
      <p:transition spd="slow" advTm="6192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499"/>
                                          </p:stCondLst>
                                        </p:cTn>
                                        <p:tgtEl>
                                          <p:spTgt spid="3"/>
                                        </p:tgtEl>
                                        <p:attrNameLst>
                                          <p:attrName>style.visibility</p:attrName>
                                        </p:attrNameLst>
                                      </p:cBhvr>
                                      <p:to>
                                        <p:strVal val="visible"/>
                                      </p:to>
                                    </p:set>
                                  </p:childTnLst>
                                </p:cTn>
                              </p:par>
                            </p:childTnLst>
                          </p:cTn>
                        </p:par>
                        <p:par>
                          <p:cTn id="7" fill="hold">
                            <p:stCondLst>
                              <p:cond delay="500"/>
                            </p:stCondLst>
                            <p:childTnLst>
                              <p:par>
                                <p:cTn id="8" presetID="1" presetClass="mediacall" presetSubtype="0" fill="hold" nodeType="afterEffect">
                                  <p:stCondLst>
                                    <p:cond delay="0"/>
                                  </p:stCondLst>
                                  <p:childTnLst>
                                    <p:cmd type="call" cmd="playFrom(0.0)">
                                      <p:cBhvr>
                                        <p:cTn id="9" dur="1" fill="hold"/>
                                        <p:tgtEl>
                                          <p:spTgt spid="3"/>
                                        </p:tgtEl>
                                      </p:cBhvr>
                                    </p:cmd>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1042"/>
                                        </p:tgtEl>
                                        <p:attrNameLst>
                                          <p:attrName>style.visibility</p:attrName>
                                        </p:attrNameLst>
                                      </p:cBhvr>
                                      <p:to>
                                        <p:strVal val="visible"/>
                                      </p:to>
                                    </p:set>
                                    <p:animEffect transition="in" filter="fade">
                                      <p:cBhvr>
                                        <p:cTn id="14" dur="500"/>
                                        <p:tgtEl>
                                          <p:spTgt spid="1042"/>
                                        </p:tgtEl>
                                      </p:cBhvr>
                                    </p:animEffect>
                                  </p:childTnLst>
                                </p:cTn>
                              </p:par>
                              <p:par>
                                <p:cTn id="15" presetID="10" presetClass="entr" presetSubtype="0" fill="hold" nodeType="withEffect">
                                  <p:stCondLst>
                                    <p:cond delay="0"/>
                                  </p:stCondLst>
                                  <p:childTnLst>
                                    <p:set>
                                      <p:cBhvr>
                                        <p:cTn id="16" dur="1" fill="hold">
                                          <p:stCondLst>
                                            <p:cond delay="0"/>
                                          </p:stCondLst>
                                        </p:cTn>
                                        <p:tgtEl>
                                          <p:spTgt spid="75"/>
                                        </p:tgtEl>
                                        <p:attrNameLst>
                                          <p:attrName>style.visibility</p:attrName>
                                        </p:attrNameLst>
                                      </p:cBhvr>
                                      <p:to>
                                        <p:strVal val="visible"/>
                                      </p:to>
                                    </p:set>
                                    <p:animEffect transition="in" filter="fade">
                                      <p:cBhvr>
                                        <p:cTn id="17" dur="500"/>
                                        <p:tgtEl>
                                          <p:spTgt spid="75"/>
                                        </p:tgtEl>
                                      </p:cBhvr>
                                    </p:animEffect>
                                  </p:childTnLst>
                                </p:cTn>
                              </p:par>
                              <p:par>
                                <p:cTn id="18" presetID="10" presetClass="entr" presetSubtype="0" fill="hold" nodeType="withEffect">
                                  <p:stCondLst>
                                    <p:cond delay="0"/>
                                  </p:stCondLst>
                                  <p:childTnLst>
                                    <p:set>
                                      <p:cBhvr>
                                        <p:cTn id="19" dur="1" fill="hold">
                                          <p:stCondLst>
                                            <p:cond delay="0"/>
                                          </p:stCondLst>
                                        </p:cTn>
                                        <p:tgtEl>
                                          <p:spTgt spid="76"/>
                                        </p:tgtEl>
                                        <p:attrNameLst>
                                          <p:attrName>style.visibility</p:attrName>
                                        </p:attrNameLst>
                                      </p:cBhvr>
                                      <p:to>
                                        <p:strVal val="visible"/>
                                      </p:to>
                                    </p:set>
                                    <p:animEffect transition="in" filter="fade">
                                      <p:cBhvr>
                                        <p:cTn id="20" dur="500"/>
                                        <p:tgtEl>
                                          <p:spTgt spid="76"/>
                                        </p:tgtEl>
                                      </p:cBhvr>
                                    </p:animEffect>
                                  </p:childTnLst>
                                </p:cTn>
                              </p:par>
                              <p:par>
                                <p:cTn id="21" presetID="10" presetClass="entr" presetSubtype="0" fill="hold" nodeType="withEffect">
                                  <p:stCondLst>
                                    <p:cond delay="0"/>
                                  </p:stCondLst>
                                  <p:childTnLst>
                                    <p:set>
                                      <p:cBhvr>
                                        <p:cTn id="22" dur="1" fill="hold">
                                          <p:stCondLst>
                                            <p:cond delay="0"/>
                                          </p:stCondLst>
                                        </p:cTn>
                                        <p:tgtEl>
                                          <p:spTgt spid="1040"/>
                                        </p:tgtEl>
                                        <p:attrNameLst>
                                          <p:attrName>style.visibility</p:attrName>
                                        </p:attrNameLst>
                                      </p:cBhvr>
                                      <p:to>
                                        <p:strVal val="visible"/>
                                      </p:to>
                                    </p:set>
                                    <p:animEffect transition="in" filter="fade">
                                      <p:cBhvr>
                                        <p:cTn id="23" dur="500"/>
                                        <p:tgtEl>
                                          <p:spTgt spid="1040"/>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74"/>
                                        </p:tgtEl>
                                        <p:attrNameLst>
                                          <p:attrName>style.visibility</p:attrName>
                                        </p:attrNameLst>
                                      </p:cBhvr>
                                      <p:to>
                                        <p:strVal val="visible"/>
                                      </p:to>
                                    </p:set>
                                    <p:animEffect transition="in" filter="fade">
                                      <p:cBhvr>
                                        <p:cTn id="26" dur="500"/>
                                        <p:tgtEl>
                                          <p:spTgt spid="74"/>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60"/>
                                        </p:tgtEl>
                                        <p:attrNameLst>
                                          <p:attrName>style.visibility</p:attrName>
                                        </p:attrNameLst>
                                      </p:cBhvr>
                                      <p:to>
                                        <p:strVal val="visible"/>
                                      </p:to>
                                    </p:set>
                                    <p:animEffect transition="in" filter="fade">
                                      <p:cBhvr>
                                        <p:cTn id="31" dur="500"/>
                                        <p:tgtEl>
                                          <p:spTgt spid="60"/>
                                        </p:tgtEl>
                                      </p:cBhvr>
                                    </p:animEffect>
                                  </p:childTnLst>
                                </p:cTn>
                              </p:par>
                              <p:par>
                                <p:cTn id="32" presetID="10" presetClass="entr" presetSubtype="0" fill="hold" nodeType="withEffect">
                                  <p:stCondLst>
                                    <p:cond delay="0"/>
                                  </p:stCondLst>
                                  <p:childTnLst>
                                    <p:set>
                                      <p:cBhvr>
                                        <p:cTn id="33" dur="1" fill="hold">
                                          <p:stCondLst>
                                            <p:cond delay="0"/>
                                          </p:stCondLst>
                                        </p:cTn>
                                        <p:tgtEl>
                                          <p:spTgt spid="61"/>
                                        </p:tgtEl>
                                        <p:attrNameLst>
                                          <p:attrName>style.visibility</p:attrName>
                                        </p:attrNameLst>
                                      </p:cBhvr>
                                      <p:to>
                                        <p:strVal val="visible"/>
                                      </p:to>
                                    </p:set>
                                    <p:animEffect transition="in" filter="fade">
                                      <p:cBhvr>
                                        <p:cTn id="34" dur="500"/>
                                        <p:tgtEl>
                                          <p:spTgt spid="61"/>
                                        </p:tgtEl>
                                      </p:cBhvr>
                                    </p:animEffect>
                                  </p:childTnLst>
                                </p:cTn>
                              </p:par>
                              <p:par>
                                <p:cTn id="35" presetID="10" presetClass="entr" presetSubtype="0" fill="hold" nodeType="withEffect">
                                  <p:stCondLst>
                                    <p:cond delay="0"/>
                                  </p:stCondLst>
                                  <p:childTnLst>
                                    <p:set>
                                      <p:cBhvr>
                                        <p:cTn id="36" dur="1" fill="hold">
                                          <p:stCondLst>
                                            <p:cond delay="0"/>
                                          </p:stCondLst>
                                        </p:cTn>
                                        <p:tgtEl>
                                          <p:spTgt spid="65"/>
                                        </p:tgtEl>
                                        <p:attrNameLst>
                                          <p:attrName>style.visibility</p:attrName>
                                        </p:attrNameLst>
                                      </p:cBhvr>
                                      <p:to>
                                        <p:strVal val="visible"/>
                                      </p:to>
                                    </p:set>
                                    <p:animEffect transition="in" filter="fade">
                                      <p:cBhvr>
                                        <p:cTn id="37" dur="500"/>
                                        <p:tgtEl>
                                          <p:spTgt spid="65"/>
                                        </p:tgtEl>
                                      </p:cBhvr>
                                    </p:animEffect>
                                  </p:childTnLst>
                                </p:cTn>
                              </p:par>
                              <p:par>
                                <p:cTn id="38" presetID="10" presetClass="entr" presetSubtype="0" fill="hold" nodeType="withEffect">
                                  <p:stCondLst>
                                    <p:cond delay="0"/>
                                  </p:stCondLst>
                                  <p:childTnLst>
                                    <p:set>
                                      <p:cBhvr>
                                        <p:cTn id="39" dur="1" fill="hold">
                                          <p:stCondLst>
                                            <p:cond delay="0"/>
                                          </p:stCondLst>
                                        </p:cTn>
                                        <p:tgtEl>
                                          <p:spTgt spid="1026"/>
                                        </p:tgtEl>
                                        <p:attrNameLst>
                                          <p:attrName>style.visibility</p:attrName>
                                        </p:attrNameLst>
                                      </p:cBhvr>
                                      <p:to>
                                        <p:strVal val="visible"/>
                                      </p:to>
                                    </p:set>
                                    <p:animEffect transition="in" filter="fade">
                                      <p:cBhvr>
                                        <p:cTn id="40" dur="500"/>
                                        <p:tgtEl>
                                          <p:spTgt spid="1026"/>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05"/>
                                        </p:tgtEl>
                                        <p:attrNameLst>
                                          <p:attrName>style.visibility</p:attrName>
                                        </p:attrNameLst>
                                      </p:cBhvr>
                                      <p:to>
                                        <p:strVal val="visible"/>
                                      </p:to>
                                    </p:set>
                                    <p:animEffect transition="in" filter="fade">
                                      <p:cBhvr>
                                        <p:cTn id="43" dur="500"/>
                                        <p:tgtEl>
                                          <p:spTgt spid="105"/>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1025"/>
                                        </p:tgtEl>
                                        <p:attrNameLst>
                                          <p:attrName>style.visibility</p:attrName>
                                        </p:attrNameLst>
                                      </p:cBhvr>
                                      <p:to>
                                        <p:strVal val="visible"/>
                                      </p:to>
                                    </p:set>
                                    <p:animEffect transition="in" filter="fade">
                                      <p:cBhvr>
                                        <p:cTn id="48" dur="500"/>
                                        <p:tgtEl>
                                          <p:spTgt spid="1025"/>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68"/>
                                        </p:tgtEl>
                                        <p:attrNameLst>
                                          <p:attrName>style.visibility</p:attrName>
                                        </p:attrNameLst>
                                      </p:cBhvr>
                                      <p:to>
                                        <p:strVal val="visible"/>
                                      </p:to>
                                    </p:set>
                                    <p:animEffect transition="in" filter="fade">
                                      <p:cBhvr>
                                        <p:cTn id="51" dur="500"/>
                                        <p:tgtEl>
                                          <p:spTgt spid="68"/>
                                        </p:tgtEl>
                                      </p:cBhvr>
                                    </p:animEffect>
                                  </p:childTnLst>
                                </p:cTn>
                              </p:par>
                              <p:par>
                                <p:cTn id="52" presetID="10" presetClass="entr" presetSubtype="0" fill="hold" nodeType="withEffect">
                                  <p:stCondLst>
                                    <p:cond delay="0"/>
                                  </p:stCondLst>
                                  <p:childTnLst>
                                    <p:set>
                                      <p:cBhvr>
                                        <p:cTn id="53" dur="1" fill="hold">
                                          <p:stCondLst>
                                            <p:cond delay="0"/>
                                          </p:stCondLst>
                                        </p:cTn>
                                        <p:tgtEl>
                                          <p:spTgt spid="1048"/>
                                        </p:tgtEl>
                                        <p:attrNameLst>
                                          <p:attrName>style.visibility</p:attrName>
                                        </p:attrNameLst>
                                      </p:cBhvr>
                                      <p:to>
                                        <p:strVal val="visible"/>
                                      </p:to>
                                    </p:set>
                                    <p:animEffect transition="in" filter="fade">
                                      <p:cBhvr>
                                        <p:cTn id="54" dur="500"/>
                                        <p:tgtEl>
                                          <p:spTgt spid="1048"/>
                                        </p:tgtEl>
                                      </p:cBhvr>
                                    </p:animEffect>
                                  </p:childTnLst>
                                </p:cTn>
                              </p:par>
                              <p:par>
                                <p:cTn id="55" presetID="10" presetClass="entr" presetSubtype="0" fill="hold" nodeType="withEffect">
                                  <p:stCondLst>
                                    <p:cond delay="0"/>
                                  </p:stCondLst>
                                  <p:childTnLst>
                                    <p:set>
                                      <p:cBhvr>
                                        <p:cTn id="56" dur="1" fill="hold">
                                          <p:stCondLst>
                                            <p:cond delay="0"/>
                                          </p:stCondLst>
                                        </p:cTn>
                                        <p:tgtEl>
                                          <p:spTgt spid="1034"/>
                                        </p:tgtEl>
                                        <p:attrNameLst>
                                          <p:attrName>style.visibility</p:attrName>
                                        </p:attrNameLst>
                                      </p:cBhvr>
                                      <p:to>
                                        <p:strVal val="visible"/>
                                      </p:to>
                                    </p:set>
                                    <p:animEffect transition="in" filter="fade">
                                      <p:cBhvr>
                                        <p:cTn id="57" dur="500"/>
                                        <p:tgtEl>
                                          <p:spTgt spid="1034"/>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62"/>
                                        </p:tgtEl>
                                        <p:attrNameLst>
                                          <p:attrName>style.visibility</p:attrName>
                                        </p:attrNameLst>
                                      </p:cBhvr>
                                      <p:to>
                                        <p:strVal val="visible"/>
                                      </p:to>
                                    </p:set>
                                    <p:animEffect transition="in" filter="fade">
                                      <p:cBhvr>
                                        <p:cTn id="62" dur="500"/>
                                        <p:tgtEl>
                                          <p:spTgt spid="62"/>
                                        </p:tgtEl>
                                      </p:cBhvr>
                                    </p:animEffect>
                                  </p:childTnLst>
                                </p:cTn>
                              </p:par>
                              <p:par>
                                <p:cTn id="63" presetID="10" presetClass="entr" presetSubtype="0" fill="hold" nodeType="withEffect">
                                  <p:stCondLst>
                                    <p:cond delay="0"/>
                                  </p:stCondLst>
                                  <p:childTnLst>
                                    <p:set>
                                      <p:cBhvr>
                                        <p:cTn id="64" dur="1" fill="hold">
                                          <p:stCondLst>
                                            <p:cond delay="0"/>
                                          </p:stCondLst>
                                        </p:cTn>
                                        <p:tgtEl>
                                          <p:spTgt spid="1028"/>
                                        </p:tgtEl>
                                        <p:attrNameLst>
                                          <p:attrName>style.visibility</p:attrName>
                                        </p:attrNameLst>
                                      </p:cBhvr>
                                      <p:to>
                                        <p:strVal val="visible"/>
                                      </p:to>
                                    </p:set>
                                    <p:animEffect transition="in" filter="fade">
                                      <p:cBhvr>
                                        <p:cTn id="65" dur="500"/>
                                        <p:tgtEl>
                                          <p:spTgt spid="1028"/>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104"/>
                                        </p:tgtEl>
                                        <p:attrNameLst>
                                          <p:attrName>style.visibility</p:attrName>
                                        </p:attrNameLst>
                                      </p:cBhvr>
                                      <p:to>
                                        <p:strVal val="visible"/>
                                      </p:to>
                                    </p:set>
                                    <p:animEffect transition="in" filter="fade">
                                      <p:cBhvr>
                                        <p:cTn id="68" dur="500"/>
                                        <p:tgtEl>
                                          <p:spTgt spid="104"/>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nodeType="clickEffect">
                                  <p:stCondLst>
                                    <p:cond delay="0"/>
                                  </p:stCondLst>
                                  <p:childTnLst>
                                    <p:set>
                                      <p:cBhvr>
                                        <p:cTn id="72" dur="1" fill="hold">
                                          <p:stCondLst>
                                            <p:cond delay="0"/>
                                          </p:stCondLst>
                                        </p:cTn>
                                        <p:tgtEl>
                                          <p:spTgt spid="126"/>
                                        </p:tgtEl>
                                        <p:attrNameLst>
                                          <p:attrName>style.visibility</p:attrName>
                                        </p:attrNameLst>
                                      </p:cBhvr>
                                      <p:to>
                                        <p:strVal val="visible"/>
                                      </p:to>
                                    </p:set>
                                    <p:animEffect transition="in" filter="fade">
                                      <p:cBhvr>
                                        <p:cTn id="73" dur="500"/>
                                        <p:tgtEl>
                                          <p:spTgt spid="126"/>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112"/>
                                        </p:tgtEl>
                                        <p:attrNameLst>
                                          <p:attrName>style.visibility</p:attrName>
                                        </p:attrNameLst>
                                      </p:cBhvr>
                                      <p:to>
                                        <p:strVal val="visible"/>
                                      </p:to>
                                    </p:set>
                                    <p:animEffect transition="in" filter="fade">
                                      <p:cBhvr>
                                        <p:cTn id="76" dur="500"/>
                                        <p:tgtEl>
                                          <p:spTgt spid="112"/>
                                        </p:tgtEl>
                                      </p:cBhvr>
                                    </p:animEffect>
                                  </p:childTnLst>
                                </p:cTn>
                              </p:par>
                              <p:par>
                                <p:cTn id="77" presetID="10" presetClass="entr" presetSubtype="0" fill="hold" nodeType="withEffect">
                                  <p:stCondLst>
                                    <p:cond delay="0"/>
                                  </p:stCondLst>
                                  <p:childTnLst>
                                    <p:set>
                                      <p:cBhvr>
                                        <p:cTn id="78" dur="1" fill="hold">
                                          <p:stCondLst>
                                            <p:cond delay="0"/>
                                          </p:stCondLst>
                                        </p:cTn>
                                        <p:tgtEl>
                                          <p:spTgt spid="59"/>
                                        </p:tgtEl>
                                        <p:attrNameLst>
                                          <p:attrName>style.visibility</p:attrName>
                                        </p:attrNameLst>
                                      </p:cBhvr>
                                      <p:to>
                                        <p:strVal val="visible"/>
                                      </p:to>
                                    </p:set>
                                    <p:animEffect transition="in" filter="fade">
                                      <p:cBhvr>
                                        <p:cTn id="79" dur="500"/>
                                        <p:tgtEl>
                                          <p:spTgt spid="59"/>
                                        </p:tgtEl>
                                      </p:cBhvr>
                                    </p:animEffect>
                                  </p:childTnLst>
                                </p:cTn>
                              </p:par>
                              <p:par>
                                <p:cTn id="80" presetID="10" presetClass="entr" presetSubtype="0" fill="hold" nodeType="withEffect">
                                  <p:stCondLst>
                                    <p:cond delay="0"/>
                                  </p:stCondLst>
                                  <p:childTnLst>
                                    <p:set>
                                      <p:cBhvr>
                                        <p:cTn id="81" dur="1" fill="hold">
                                          <p:stCondLst>
                                            <p:cond delay="0"/>
                                          </p:stCondLst>
                                        </p:cTn>
                                        <p:tgtEl>
                                          <p:spTgt spid="1044"/>
                                        </p:tgtEl>
                                        <p:attrNameLst>
                                          <p:attrName>style.visibility</p:attrName>
                                        </p:attrNameLst>
                                      </p:cBhvr>
                                      <p:to>
                                        <p:strVal val="visible"/>
                                      </p:to>
                                    </p:set>
                                    <p:animEffect transition="in" filter="fade">
                                      <p:cBhvr>
                                        <p:cTn id="82" dur="500"/>
                                        <p:tgtEl>
                                          <p:spTgt spid="1044"/>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nodeType="clickEffect">
                                  <p:stCondLst>
                                    <p:cond delay="0"/>
                                  </p:stCondLst>
                                  <p:childTnLst>
                                    <p:set>
                                      <p:cBhvr>
                                        <p:cTn id="86" dur="1" fill="hold">
                                          <p:stCondLst>
                                            <p:cond delay="0"/>
                                          </p:stCondLst>
                                        </p:cTn>
                                        <p:tgtEl>
                                          <p:spTgt spid="121"/>
                                        </p:tgtEl>
                                        <p:attrNameLst>
                                          <p:attrName>style.visibility</p:attrName>
                                        </p:attrNameLst>
                                      </p:cBhvr>
                                      <p:to>
                                        <p:strVal val="visible"/>
                                      </p:to>
                                    </p:set>
                                    <p:animEffect transition="in" filter="fade">
                                      <p:cBhvr>
                                        <p:cTn id="87" dur="500"/>
                                        <p:tgtEl>
                                          <p:spTgt spid="121"/>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1051"/>
                                        </p:tgtEl>
                                        <p:attrNameLst>
                                          <p:attrName>style.visibility</p:attrName>
                                        </p:attrNameLst>
                                      </p:cBhvr>
                                      <p:to>
                                        <p:strVal val="visible"/>
                                      </p:to>
                                    </p:set>
                                    <p:animEffect transition="in" filter="fade">
                                      <p:cBhvr>
                                        <p:cTn id="90" dur="500"/>
                                        <p:tgtEl>
                                          <p:spTgt spid="1051"/>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64"/>
                                        </p:tgtEl>
                                        <p:attrNameLst>
                                          <p:attrName>style.visibility</p:attrName>
                                        </p:attrNameLst>
                                      </p:cBhvr>
                                      <p:to>
                                        <p:strVal val="visible"/>
                                      </p:to>
                                    </p:set>
                                    <p:animEffect transition="in" filter="fade">
                                      <p:cBhvr>
                                        <p:cTn id="93" dur="500"/>
                                        <p:tgtEl>
                                          <p:spTgt spid="64"/>
                                        </p:tgtEl>
                                      </p:cBhvr>
                                    </p:animEffect>
                                  </p:childTnLst>
                                </p:cTn>
                              </p:par>
                            </p:childTnLst>
                          </p:cTn>
                        </p:par>
                      </p:childTnLst>
                    </p:cTn>
                  </p:par>
                  <p:par>
                    <p:cTn id="94" fill="hold">
                      <p:stCondLst>
                        <p:cond delay="indefinite"/>
                      </p:stCondLst>
                      <p:childTnLst>
                        <p:par>
                          <p:cTn id="95" fill="hold">
                            <p:stCondLst>
                              <p:cond delay="0"/>
                            </p:stCondLst>
                            <p:childTnLst>
                              <p:par>
                                <p:cTn id="96" presetID="10" presetClass="entr" presetSubtype="0" fill="hold" nodeType="clickEffect">
                                  <p:stCondLst>
                                    <p:cond delay="0"/>
                                  </p:stCondLst>
                                  <p:childTnLst>
                                    <p:set>
                                      <p:cBhvr>
                                        <p:cTn id="97" dur="1" fill="hold">
                                          <p:stCondLst>
                                            <p:cond delay="0"/>
                                          </p:stCondLst>
                                        </p:cTn>
                                        <p:tgtEl>
                                          <p:spTgt spid="63"/>
                                        </p:tgtEl>
                                        <p:attrNameLst>
                                          <p:attrName>style.visibility</p:attrName>
                                        </p:attrNameLst>
                                      </p:cBhvr>
                                      <p:to>
                                        <p:strVal val="visible"/>
                                      </p:to>
                                    </p:set>
                                    <p:animEffect transition="in" filter="fade">
                                      <p:cBhvr>
                                        <p:cTn id="98" dur="500"/>
                                        <p:tgtEl>
                                          <p:spTgt spid="63"/>
                                        </p:tgtEl>
                                      </p:cBhvr>
                                    </p:animEffect>
                                  </p:childTnLst>
                                </p:cTn>
                              </p:par>
                              <p:par>
                                <p:cTn id="99" presetID="10" presetClass="entr" presetSubtype="0" fill="hold" grpId="0" nodeType="withEffect">
                                  <p:stCondLst>
                                    <p:cond delay="0"/>
                                  </p:stCondLst>
                                  <p:childTnLst>
                                    <p:set>
                                      <p:cBhvr>
                                        <p:cTn id="100" dur="1" fill="hold">
                                          <p:stCondLst>
                                            <p:cond delay="0"/>
                                          </p:stCondLst>
                                        </p:cTn>
                                        <p:tgtEl>
                                          <p:spTgt spid="1052"/>
                                        </p:tgtEl>
                                        <p:attrNameLst>
                                          <p:attrName>style.visibility</p:attrName>
                                        </p:attrNameLst>
                                      </p:cBhvr>
                                      <p:to>
                                        <p:strVal val="visible"/>
                                      </p:to>
                                    </p:set>
                                    <p:animEffect transition="in" filter="fade">
                                      <p:cBhvr>
                                        <p:cTn id="101" dur="500"/>
                                        <p:tgtEl>
                                          <p:spTgt spid="1052"/>
                                        </p:tgtEl>
                                      </p:cBhvr>
                                    </p:animEffect>
                                  </p:childTnLst>
                                </p:cTn>
                              </p:par>
                              <p:par>
                                <p:cTn id="102" presetID="10" presetClass="entr" presetSubtype="0" fill="hold" nodeType="withEffect">
                                  <p:stCondLst>
                                    <p:cond delay="0"/>
                                  </p:stCondLst>
                                  <p:childTnLst>
                                    <p:set>
                                      <p:cBhvr>
                                        <p:cTn id="103" dur="1" fill="hold">
                                          <p:stCondLst>
                                            <p:cond delay="0"/>
                                          </p:stCondLst>
                                        </p:cTn>
                                        <p:tgtEl>
                                          <p:spTgt spid="1047"/>
                                        </p:tgtEl>
                                        <p:attrNameLst>
                                          <p:attrName>style.visibility</p:attrName>
                                        </p:attrNameLst>
                                      </p:cBhvr>
                                      <p:to>
                                        <p:strVal val="visible"/>
                                      </p:to>
                                    </p:set>
                                    <p:animEffect transition="in" filter="fade">
                                      <p:cBhvr>
                                        <p:cTn id="104" dur="500"/>
                                        <p:tgtEl>
                                          <p:spTgt spid="1047"/>
                                        </p:tgtEl>
                                      </p:cBhvr>
                                    </p:animEffect>
                                  </p:childTnLst>
                                </p:cTn>
                              </p:par>
                              <p:par>
                                <p:cTn id="105" presetID="10" presetClass="entr" presetSubtype="0" fill="hold" grpId="0" nodeType="withEffect">
                                  <p:stCondLst>
                                    <p:cond delay="0"/>
                                  </p:stCondLst>
                                  <p:childTnLst>
                                    <p:set>
                                      <p:cBhvr>
                                        <p:cTn id="106" dur="1" fill="hold">
                                          <p:stCondLst>
                                            <p:cond delay="0"/>
                                          </p:stCondLst>
                                        </p:cTn>
                                        <p:tgtEl>
                                          <p:spTgt spid="1046"/>
                                        </p:tgtEl>
                                        <p:attrNameLst>
                                          <p:attrName>style.visibility</p:attrName>
                                        </p:attrNameLst>
                                      </p:cBhvr>
                                      <p:to>
                                        <p:strVal val="visible"/>
                                      </p:to>
                                    </p:set>
                                    <p:animEffect transition="in" filter="fade">
                                      <p:cBhvr>
                                        <p:cTn id="107" dur="500"/>
                                        <p:tgtEl>
                                          <p:spTgt spid="1046"/>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108" fill="hold" display="0">
                  <p:stCondLst>
                    <p:cond delay="indefinite"/>
                  </p:stCondLst>
                  <p:endCondLst>
                    <p:cond evt="onStopAudio" delay="0">
                      <p:tgtEl>
                        <p:sldTgt/>
                      </p:tgtEl>
                    </p:cond>
                  </p:endCondLst>
                </p:cTn>
                <p:tgtEl>
                  <p:spTgt spid="3"/>
                </p:tgtEl>
              </p:cMediaNode>
            </p:audio>
          </p:childTnLst>
        </p:cTn>
      </p:par>
    </p:tnLst>
    <p:bldLst>
      <p:bldP spid="112" grpId="0" animBg="1" autoUpdateAnimBg="0"/>
      <p:bldP spid="64" grpId="0" animBg="1" autoUpdateAnimBg="0"/>
      <p:bldP spid="68" grpId="0" animBg="1" autoUpdateAnimBg="0"/>
      <p:bldP spid="74" grpId="0" autoUpdateAnimBg="0"/>
      <p:bldP spid="104" grpId="0" animBg="1" autoUpdateAnimBg="0"/>
      <p:bldP spid="105" grpId="0" animBg="1" autoUpdateAnimBg="0"/>
      <p:bldP spid="1046" grpId="0" animBg="1" autoUpdateAnimBg="0"/>
      <p:bldP spid="1051" grpId="0" animBg="1" autoUpdateAnimBg="0"/>
      <p:bldP spid="1052" grpId="0" animBg="1" autoUpdateAnimBg="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Content Placeholder 38" descr="A screenshot of a computer&#10;&#10;AI-generated content may be incorrect.">
            <a:extLst>
              <a:ext uri="{FF2B5EF4-FFF2-40B4-BE49-F238E27FC236}">
                <a16:creationId xmlns:a16="http://schemas.microsoft.com/office/drawing/2014/main" id="{EC8055BC-CE21-07CC-5C0B-8AC4A61B85A5}"/>
              </a:ext>
            </a:extLst>
          </p:cNvPr>
          <p:cNvPicPr>
            <a:picLocks noGrp="1" noChangeAspect="1"/>
          </p:cNvPicPr>
          <p:nvPr>
            <p:ph sz="half" idx="2"/>
          </p:nvPr>
        </p:nvPicPr>
        <p:blipFill>
          <a:blip r:embed="rId6"/>
          <a:stretch>
            <a:fillRect/>
          </a:stretch>
        </p:blipFill>
        <p:spPr>
          <a:xfrm>
            <a:off x="1057616" y="688975"/>
            <a:ext cx="10067244" cy="5562600"/>
          </a:xfrm>
        </p:spPr>
      </p:pic>
      <p:sp>
        <p:nvSpPr>
          <p:cNvPr id="2" name="TitlePlaceholder">
            <a:extLst>
              <a:ext uri="{FF2B5EF4-FFF2-40B4-BE49-F238E27FC236}">
                <a16:creationId xmlns:a16="http://schemas.microsoft.com/office/drawing/2014/main" id="{55B60615-4321-D77A-2A6F-AD942965646B}"/>
              </a:ext>
            </a:extLst>
          </p:cNvPr>
          <p:cNvSpPr>
            <a:spLocks noGrp="1"/>
          </p:cNvSpPr>
          <p:nvPr>
            <p:ph type="title"/>
          </p:nvPr>
        </p:nvSpPr>
        <p:spPr/>
        <p:txBody>
          <a:bodyPr>
            <a:normAutofit fontScale="90000"/>
          </a:bodyPr>
          <a:lstStyle/>
          <a:p>
            <a:r>
              <a:rPr lang="en-US" dirty="0"/>
              <a:t>Create</a:t>
            </a:r>
          </a:p>
        </p:txBody>
      </p:sp>
      <p:sp>
        <p:nvSpPr>
          <p:cNvPr id="4" name="SectionNameTextPlaceholder">
            <a:extLst>
              <a:ext uri="{FF2B5EF4-FFF2-40B4-BE49-F238E27FC236}">
                <a16:creationId xmlns:a16="http://schemas.microsoft.com/office/drawing/2014/main" id="{8AF3872E-F004-608A-BB44-C8A2C69A7697}"/>
              </a:ext>
            </a:extLst>
          </p:cNvPr>
          <p:cNvSpPr>
            <a:spLocks noGrp="1"/>
          </p:cNvSpPr>
          <p:nvPr>
            <p:ph type="body" sz="quarter" idx="3"/>
          </p:nvPr>
        </p:nvSpPr>
        <p:spPr/>
        <p:txBody>
          <a:bodyPr/>
          <a:lstStyle/>
          <a:p>
            <a:r>
              <a:rPr lang="en-US" dirty="0"/>
              <a:t>Create</a:t>
            </a:r>
          </a:p>
        </p:txBody>
      </p:sp>
      <p:sp>
        <p:nvSpPr>
          <p:cNvPr id="5" name="ReferenceTextPlaceholder">
            <a:extLst>
              <a:ext uri="{FF2B5EF4-FFF2-40B4-BE49-F238E27FC236}">
                <a16:creationId xmlns:a16="http://schemas.microsoft.com/office/drawing/2014/main" id="{692D3913-0F39-C525-9C36-34D94C769147}"/>
              </a:ext>
            </a:extLst>
          </p:cNvPr>
          <p:cNvSpPr>
            <a:spLocks noGrp="1"/>
          </p:cNvSpPr>
          <p:nvPr>
            <p:ph type="body" sz="quarter" idx="20"/>
          </p:nvPr>
        </p:nvSpPr>
        <p:spPr/>
        <p:txBody>
          <a:bodyPr/>
          <a:lstStyle/>
          <a:p>
            <a:endParaRPr lang="en-US" dirty="0"/>
          </a:p>
        </p:txBody>
      </p:sp>
      <p:sp>
        <p:nvSpPr>
          <p:cNvPr id="8" name="rectHighlight">
            <a:extLst>
              <a:ext uri="{FF2B5EF4-FFF2-40B4-BE49-F238E27FC236}">
                <a16:creationId xmlns:a16="http://schemas.microsoft.com/office/drawing/2014/main" id="{FAE37D01-A926-FFEF-6CC6-3E0EDEFB8D85}"/>
              </a:ext>
            </a:extLst>
          </p:cNvPr>
          <p:cNvSpPr/>
          <p:nvPr/>
        </p:nvSpPr>
        <p:spPr>
          <a:xfrm>
            <a:off x="2077563" y="27881"/>
            <a:ext cx="1965252" cy="588427"/>
          </a:xfrm>
          <a:prstGeom prst="roundRect">
            <a:avLst/>
          </a:prstGeom>
          <a:noFill/>
          <a:ln w="5715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solidFill>
            </a:endParaRPr>
          </a:p>
        </p:txBody>
      </p:sp>
      <p:sp>
        <p:nvSpPr>
          <p:cNvPr id="10" name="Rectangle: Rounded Corners 9">
            <a:extLst>
              <a:ext uri="{FF2B5EF4-FFF2-40B4-BE49-F238E27FC236}">
                <a16:creationId xmlns:a16="http://schemas.microsoft.com/office/drawing/2014/main" id="{24026E8A-4158-F41A-922A-31D8910F1938}"/>
              </a:ext>
            </a:extLst>
          </p:cNvPr>
          <p:cNvSpPr/>
          <p:nvPr/>
        </p:nvSpPr>
        <p:spPr>
          <a:xfrm>
            <a:off x="2609156" y="5540511"/>
            <a:ext cx="5753794" cy="447540"/>
          </a:xfrm>
          <a:prstGeom prst="roundRect">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Rounded Corners 10">
            <a:extLst>
              <a:ext uri="{FF2B5EF4-FFF2-40B4-BE49-F238E27FC236}">
                <a16:creationId xmlns:a16="http://schemas.microsoft.com/office/drawing/2014/main" id="{585E30C8-81C0-C7A6-9434-B380659F5FB1}"/>
              </a:ext>
            </a:extLst>
          </p:cNvPr>
          <p:cNvSpPr/>
          <p:nvPr/>
        </p:nvSpPr>
        <p:spPr>
          <a:xfrm>
            <a:off x="9690099" y="1915111"/>
            <a:ext cx="679451" cy="205789"/>
          </a:xfrm>
          <a:prstGeom prst="roundRect">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11">
            <a:extLst>
              <a:ext uri="{FF2B5EF4-FFF2-40B4-BE49-F238E27FC236}">
                <a16:creationId xmlns:a16="http://schemas.microsoft.com/office/drawing/2014/main" id="{45D427E9-C2E3-FF7E-C245-D917A991F54D}"/>
              </a:ext>
            </a:extLst>
          </p:cNvPr>
          <p:cNvSpPr/>
          <p:nvPr/>
        </p:nvSpPr>
        <p:spPr>
          <a:xfrm>
            <a:off x="5080000" y="2311139"/>
            <a:ext cx="4292600" cy="1868858"/>
          </a:xfrm>
          <a:prstGeom prst="roundRect">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 name="Straight Connector 13">
            <a:extLst>
              <a:ext uri="{FF2B5EF4-FFF2-40B4-BE49-F238E27FC236}">
                <a16:creationId xmlns:a16="http://schemas.microsoft.com/office/drawing/2014/main" id="{A7735282-E69C-1805-E17F-6EB530A337CD}"/>
              </a:ext>
            </a:extLst>
          </p:cNvPr>
          <p:cNvCxnSpPr>
            <a:cxnSpLocks/>
            <a:stCxn id="11" idx="1"/>
          </p:cNvCxnSpPr>
          <p:nvPr/>
        </p:nvCxnSpPr>
        <p:spPr>
          <a:xfrm flipH="1">
            <a:off x="9309100" y="2018006"/>
            <a:ext cx="380999" cy="375944"/>
          </a:xfrm>
          <a:prstGeom prst="line">
            <a:avLst/>
          </a:prstGeom>
          <a:ln w="38100">
            <a:solidFill>
              <a:srgbClr val="00B050"/>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6" name="Rectangle: Rounded Corners 15">
            <a:extLst>
              <a:ext uri="{FF2B5EF4-FFF2-40B4-BE49-F238E27FC236}">
                <a16:creationId xmlns:a16="http://schemas.microsoft.com/office/drawing/2014/main" id="{1DB83F5B-CE13-9EFD-E33D-C93EBDA073E3}"/>
              </a:ext>
            </a:extLst>
          </p:cNvPr>
          <p:cNvSpPr/>
          <p:nvPr/>
        </p:nvSpPr>
        <p:spPr>
          <a:xfrm>
            <a:off x="10574290" y="791016"/>
            <a:ext cx="358445" cy="174184"/>
          </a:xfrm>
          <a:prstGeom prst="roundRect">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Rounded Corners 16">
            <a:extLst>
              <a:ext uri="{FF2B5EF4-FFF2-40B4-BE49-F238E27FC236}">
                <a16:creationId xmlns:a16="http://schemas.microsoft.com/office/drawing/2014/main" id="{5A513991-AC71-B0C2-6C57-209C92FCE036}"/>
              </a:ext>
            </a:extLst>
          </p:cNvPr>
          <p:cNvSpPr/>
          <p:nvPr/>
        </p:nvSpPr>
        <p:spPr>
          <a:xfrm>
            <a:off x="8934450" y="4928248"/>
            <a:ext cx="568536" cy="479557"/>
          </a:xfrm>
          <a:prstGeom prst="roundRect">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3" name="Connector: Elbow 32">
            <a:extLst>
              <a:ext uri="{FF2B5EF4-FFF2-40B4-BE49-F238E27FC236}">
                <a16:creationId xmlns:a16="http://schemas.microsoft.com/office/drawing/2014/main" id="{08AB1A26-897E-5461-A2C3-9490202807B0}"/>
              </a:ext>
            </a:extLst>
          </p:cNvPr>
          <p:cNvCxnSpPr>
            <a:cxnSpLocks/>
            <a:stCxn id="16" idx="2"/>
            <a:endCxn id="17" idx="3"/>
          </p:cNvCxnSpPr>
          <p:nvPr/>
        </p:nvCxnSpPr>
        <p:spPr>
          <a:xfrm rot="5400000">
            <a:off x="8026837" y="2441350"/>
            <a:ext cx="4202827" cy="1250527"/>
          </a:xfrm>
          <a:prstGeom prst="bentConnector2">
            <a:avLst/>
          </a:prstGeom>
          <a:ln w="38100">
            <a:solidFill>
              <a:srgbClr val="00B050"/>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5" name="Rectangle: Rounded Corners 44">
            <a:extLst>
              <a:ext uri="{FF2B5EF4-FFF2-40B4-BE49-F238E27FC236}">
                <a16:creationId xmlns:a16="http://schemas.microsoft.com/office/drawing/2014/main" id="{E40E9B74-6AB2-45BF-4CF9-BBF2642DDB0D}"/>
              </a:ext>
            </a:extLst>
          </p:cNvPr>
          <p:cNvSpPr/>
          <p:nvPr/>
        </p:nvSpPr>
        <p:spPr>
          <a:xfrm>
            <a:off x="8713009" y="5540511"/>
            <a:ext cx="3294841" cy="447540"/>
          </a:xfrm>
          <a:prstGeom prst="roundRect">
            <a:avLst/>
          </a:prstGeom>
          <a:solidFill>
            <a:srgbClr val="00B050"/>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t>Text-to-Speech</a:t>
            </a:r>
          </a:p>
        </p:txBody>
      </p:sp>
      <p:cxnSp>
        <p:nvCxnSpPr>
          <p:cNvPr id="46" name="Connector: Elbow 45">
            <a:extLst>
              <a:ext uri="{FF2B5EF4-FFF2-40B4-BE49-F238E27FC236}">
                <a16:creationId xmlns:a16="http://schemas.microsoft.com/office/drawing/2014/main" id="{0AA789C0-2980-A5B0-3AE9-46F56D1E3870}"/>
              </a:ext>
            </a:extLst>
          </p:cNvPr>
          <p:cNvCxnSpPr>
            <a:cxnSpLocks/>
          </p:cNvCxnSpPr>
          <p:nvPr/>
        </p:nvCxnSpPr>
        <p:spPr>
          <a:xfrm rot="10800000">
            <a:off x="9502987" y="5308601"/>
            <a:ext cx="1250526" cy="231910"/>
          </a:xfrm>
          <a:prstGeom prst="bentConnector3">
            <a:avLst>
              <a:gd name="adj1" fmla="val -271"/>
            </a:avLst>
          </a:prstGeom>
          <a:ln w="38100">
            <a:solidFill>
              <a:srgbClr val="00B050"/>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44" name="imgMultimodalSlidesTTS" descr="A close up of a sign&#10;&#10;Description automatically generated">
            <a:hlinkClick r:id="rId7"/>
            <a:extLst>
              <a:ext uri="{FF2B5EF4-FFF2-40B4-BE49-F238E27FC236}">
                <a16:creationId xmlns:a16="http://schemas.microsoft.com/office/drawing/2014/main" id="{9754F065-F12A-1F34-EBF8-55C8437E0DC2}"/>
              </a:ext>
            </a:extLst>
          </p:cNvPr>
          <p:cNvPicPr>
            <a:picLocks noChangeAspect="1"/>
          </p:cNvPicPr>
          <p:nvPr/>
        </p:nvPicPr>
        <p:blipFill rotWithShape="1">
          <a:blip r:embed="rId8"/>
          <a:srcRect t="2374" r="4640" b="24511"/>
          <a:stretch/>
        </p:blipFill>
        <p:spPr>
          <a:xfrm>
            <a:off x="10852383" y="5576396"/>
            <a:ext cx="1104434" cy="375770"/>
          </a:xfrm>
          <a:prstGeom prst="rect">
            <a:avLst/>
          </a:prstGeom>
        </p:spPr>
      </p:pic>
      <p:cxnSp>
        <p:nvCxnSpPr>
          <p:cNvPr id="57" name="Straight Connector 56">
            <a:extLst>
              <a:ext uri="{FF2B5EF4-FFF2-40B4-BE49-F238E27FC236}">
                <a16:creationId xmlns:a16="http://schemas.microsoft.com/office/drawing/2014/main" id="{E3619932-55D1-3162-C735-A351790D3BFC}"/>
              </a:ext>
            </a:extLst>
          </p:cNvPr>
          <p:cNvCxnSpPr>
            <a:cxnSpLocks/>
            <a:stCxn id="10" idx="3"/>
            <a:endCxn id="45" idx="1"/>
          </p:cNvCxnSpPr>
          <p:nvPr/>
        </p:nvCxnSpPr>
        <p:spPr>
          <a:xfrm>
            <a:off x="8362950" y="5764281"/>
            <a:ext cx="350059" cy="0"/>
          </a:xfrm>
          <a:prstGeom prst="line">
            <a:avLst/>
          </a:prstGeom>
          <a:ln w="38100">
            <a:solidFill>
              <a:srgbClr val="00B050"/>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D668DEED-8BED-9099-0EDB-C149DA51E696}"/>
              </a:ext>
            </a:extLst>
          </p:cNvPr>
          <p:cNvSpPr/>
          <p:nvPr/>
        </p:nvSpPr>
        <p:spPr>
          <a:xfrm>
            <a:off x="11185281" y="1657753"/>
            <a:ext cx="889996" cy="25735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b="1" i="0" dirty="0">
                <a:solidFill>
                  <a:srgbClr val="D65132"/>
                </a:solidFill>
                <a:effectLst/>
                <a:latin typeface="Segoe UI" panose="020B0502040204020203" pitchFamily="34" charset="0"/>
              </a:rPr>
              <a:t>Microsoft PowerPoint</a:t>
            </a:r>
          </a:p>
        </p:txBody>
      </p:sp>
      <p:pic>
        <p:nvPicPr>
          <p:cNvPr id="62" name="Picture 12" descr="Download Powerpoint, Powerpoint Logo, Icon. Royalty-Free Stock Illustration  Image - Pixabay">
            <a:extLst>
              <a:ext uri="{FF2B5EF4-FFF2-40B4-BE49-F238E27FC236}">
                <a16:creationId xmlns:a16="http://schemas.microsoft.com/office/drawing/2014/main" id="{8C09E27B-D8E5-32F4-81B8-EAA336C6B4D8}"/>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27772" t="12921" r="28937" b="13855"/>
          <a:stretch/>
        </p:blipFill>
        <p:spPr bwMode="auto">
          <a:xfrm>
            <a:off x="11255247" y="878108"/>
            <a:ext cx="750064" cy="713629"/>
          </a:xfrm>
          <a:prstGeom prst="rect">
            <a:avLst/>
          </a:prstGeom>
          <a:noFill/>
          <a:extLst>
            <a:ext uri="{909E8E84-426E-40DD-AFC4-6F175D3DCCD1}">
              <a14:hiddenFill xmlns:a14="http://schemas.microsoft.com/office/drawing/2010/main">
                <a:solidFill>
                  <a:srgbClr val="FFFFFF"/>
                </a:solidFill>
              </a14:hiddenFill>
            </a:ext>
          </a:extLst>
        </p:spPr>
      </p:pic>
      <p:sp>
        <p:nvSpPr>
          <p:cNvPr id="65" name="Rectangle: Rounded Corners 64">
            <a:extLst>
              <a:ext uri="{FF2B5EF4-FFF2-40B4-BE49-F238E27FC236}">
                <a16:creationId xmlns:a16="http://schemas.microsoft.com/office/drawing/2014/main" id="{63AA2525-6CD5-BAD7-76C3-A695FB8FA99C}"/>
              </a:ext>
            </a:extLst>
          </p:cNvPr>
          <p:cNvSpPr/>
          <p:nvPr/>
        </p:nvSpPr>
        <p:spPr>
          <a:xfrm>
            <a:off x="10540427" y="5067572"/>
            <a:ext cx="426172" cy="314833"/>
          </a:xfrm>
          <a:prstGeom prst="roundRect">
            <a:avLst/>
          </a:prstGeom>
          <a:solidFill>
            <a:srgbClr val="00B050"/>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r</a:t>
            </a:r>
          </a:p>
        </p:txBody>
      </p:sp>
      <p:sp>
        <p:nvSpPr>
          <p:cNvPr id="6" name="Rectangle: Rounded Corners 5">
            <a:extLst>
              <a:ext uri="{FF2B5EF4-FFF2-40B4-BE49-F238E27FC236}">
                <a16:creationId xmlns:a16="http://schemas.microsoft.com/office/drawing/2014/main" id="{46EB3B0F-E1C9-BD80-40EE-0407CCDC19C8}"/>
              </a:ext>
            </a:extLst>
          </p:cNvPr>
          <p:cNvSpPr/>
          <p:nvPr/>
        </p:nvSpPr>
        <p:spPr>
          <a:xfrm>
            <a:off x="2864206" y="1679537"/>
            <a:ext cx="6683857" cy="435539"/>
          </a:xfrm>
          <a:prstGeom prst="roundRect">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6" name="imgElevenLabs" descr="ElevenLabs | Logopedia | Fandom">
            <a:hlinkClick r:id="rId10" tooltip="Goto ElevenLabs.io"/>
            <a:extLst>
              <a:ext uri="{FF2B5EF4-FFF2-40B4-BE49-F238E27FC236}">
                <a16:creationId xmlns:a16="http://schemas.microsoft.com/office/drawing/2014/main" id="{81DFDBD4-6F7C-4C15-C8E0-C37C23B77E4F}"/>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18399" t="31124" r="16468" b="30462"/>
          <a:stretch/>
        </p:blipFill>
        <p:spPr bwMode="auto">
          <a:xfrm>
            <a:off x="10164117" y="5595221"/>
            <a:ext cx="608113" cy="345531"/>
          </a:xfrm>
          <a:prstGeom prst="rect">
            <a:avLst/>
          </a:prstGeom>
          <a:noFill/>
          <a:extLst>
            <a:ext uri="{909E8E84-426E-40DD-AFC4-6F175D3DCCD1}">
              <a14:hiddenFill xmlns:a14="http://schemas.microsoft.com/office/drawing/2010/main">
                <a:solidFill>
                  <a:srgbClr val="FFFFFF"/>
                </a:solidFill>
              </a14:hiddenFill>
            </a:ext>
          </a:extLst>
        </p:spPr>
      </p:pic>
      <p:pic>
        <p:nvPicPr>
          <p:cNvPr id="13" name="Slide2">
            <a:hlinkClick r:id="" action="ppaction://media"/>
            <a:extLst>
              <a:ext uri="{FF2B5EF4-FFF2-40B4-BE49-F238E27FC236}">
                <a16:creationId xmlns:a16="http://schemas.microsoft.com/office/drawing/2014/main" id="{0FDCDAB8-D653-596B-252A-B14244AC7F9C}"/>
              </a:ext>
            </a:extLst>
          </p:cNvPr>
          <p:cNvPicPr>
            <a:picLocks noChangeAspect="1"/>
          </p:cNvPicPr>
          <p:nvPr>
            <a:audioFile r:link="rId3"/>
            <p:extLst>
              <p:ext uri="{DAA4B4D4-6D71-4841-9C94-3DE7FCFB9230}">
                <p14:media xmlns:p14="http://schemas.microsoft.com/office/powerpoint/2010/main" r:embed="rId2"/>
              </p:ext>
            </p:extLst>
          </p:nvPr>
        </p:nvPicPr>
        <p:blipFill>
          <a:blip r:embed="rId12"/>
          <a:stretch>
            <a:fillRect/>
          </a:stretch>
        </p:blipFill>
        <p:spPr>
          <a:xfrm>
            <a:off x="11430000" y="6096000"/>
            <a:ext cx="609600" cy="609600"/>
          </a:xfrm>
          <a:prstGeom prst="rect">
            <a:avLst/>
          </a:prstGeom>
        </p:spPr>
      </p:pic>
    </p:spTree>
    <p:custDataLst>
      <p:tags r:id="rId1"/>
    </p:custDataLst>
    <p:extLst>
      <p:ext uri="{BB962C8B-B14F-4D97-AF65-F5344CB8AC3E}">
        <p14:creationId xmlns:p14="http://schemas.microsoft.com/office/powerpoint/2010/main" val="273859224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advTm="74989">
        <p159:morph option="byObject"/>
      </p:transition>
    </mc:Choice>
    <mc:Fallback>
      <p:transition spd="slow" advTm="74989">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499"/>
                                          </p:stCondLst>
                                        </p:cTn>
                                        <p:tgtEl>
                                          <p:spTgt spid="13"/>
                                        </p:tgtEl>
                                        <p:attrNameLst>
                                          <p:attrName>style.visibility</p:attrName>
                                        </p:attrNameLst>
                                      </p:cBhvr>
                                      <p:to>
                                        <p:strVal val="visible"/>
                                      </p:to>
                                    </p:set>
                                  </p:childTnLst>
                                </p:cTn>
                              </p:par>
                            </p:childTnLst>
                          </p:cTn>
                        </p:par>
                        <p:par>
                          <p:cTn id="7" fill="hold">
                            <p:stCondLst>
                              <p:cond delay="500"/>
                            </p:stCondLst>
                            <p:childTnLst>
                              <p:par>
                                <p:cTn id="8" presetID="1" presetClass="mediacall" presetSubtype="0" fill="hold" nodeType="afterEffect">
                                  <p:stCondLst>
                                    <p:cond delay="0"/>
                                  </p:stCondLst>
                                  <p:childTnLst>
                                    <p:cmd type="call" cmd="playFrom(0.0)">
                                      <p:cBhvr>
                                        <p:cTn id="9" dur="1" fill="hold"/>
                                        <p:tgtEl>
                                          <p:spTgt spid="13"/>
                                        </p:tgtEl>
                                      </p:cBhvr>
                                    </p:cmd>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500"/>
                                        <p:tgtEl>
                                          <p:spTgt spid="6"/>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par>
                                <p:cTn id="23" presetID="10" presetClass="entr" presetSubtype="0" fill="hold" nodeType="with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500"/>
                                        <p:tgtEl>
                                          <p:spTgt spid="14"/>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10"/>
                                        </p:tgtEl>
                                        <p:attrNameLst>
                                          <p:attrName>style.visibility</p:attrName>
                                        </p:attrNameLst>
                                      </p:cBhvr>
                                      <p:to>
                                        <p:strVal val="visible"/>
                                      </p:to>
                                    </p:set>
                                    <p:animEffect transition="in" filter="fade">
                                      <p:cBhvr>
                                        <p:cTn id="30" dur="500"/>
                                        <p:tgtEl>
                                          <p:spTgt spid="10"/>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16"/>
                                        </p:tgtEl>
                                        <p:attrNameLst>
                                          <p:attrName>style.visibility</p:attrName>
                                        </p:attrNameLst>
                                      </p:cBhvr>
                                      <p:to>
                                        <p:strVal val="visible"/>
                                      </p:to>
                                    </p:set>
                                    <p:animEffect transition="in" filter="fade">
                                      <p:cBhvr>
                                        <p:cTn id="35" dur="500"/>
                                        <p:tgtEl>
                                          <p:spTgt spid="16"/>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33"/>
                                        </p:tgtEl>
                                        <p:attrNameLst>
                                          <p:attrName>style.visibility</p:attrName>
                                        </p:attrNameLst>
                                      </p:cBhvr>
                                      <p:to>
                                        <p:strVal val="visible"/>
                                      </p:to>
                                    </p:set>
                                    <p:animEffect transition="in" filter="fade">
                                      <p:cBhvr>
                                        <p:cTn id="40" dur="500"/>
                                        <p:tgtEl>
                                          <p:spTgt spid="33"/>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500"/>
                                        <p:tgtEl>
                                          <p:spTgt spid="17"/>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45"/>
                                        </p:tgtEl>
                                        <p:attrNameLst>
                                          <p:attrName>style.visibility</p:attrName>
                                        </p:attrNameLst>
                                      </p:cBhvr>
                                      <p:to>
                                        <p:strVal val="visible"/>
                                      </p:to>
                                    </p:set>
                                    <p:animEffect transition="in" filter="fade">
                                      <p:cBhvr>
                                        <p:cTn id="48" dur="500"/>
                                        <p:tgtEl>
                                          <p:spTgt spid="45"/>
                                        </p:tgtEl>
                                      </p:cBhvr>
                                    </p:animEffect>
                                  </p:childTnLst>
                                </p:cTn>
                              </p:par>
                              <p:par>
                                <p:cTn id="49" presetID="10" presetClass="entr" presetSubtype="0" fill="hold" nodeType="withEffect">
                                  <p:stCondLst>
                                    <p:cond delay="0"/>
                                  </p:stCondLst>
                                  <p:childTnLst>
                                    <p:set>
                                      <p:cBhvr>
                                        <p:cTn id="50" dur="1" fill="hold">
                                          <p:stCondLst>
                                            <p:cond delay="0"/>
                                          </p:stCondLst>
                                        </p:cTn>
                                        <p:tgtEl>
                                          <p:spTgt spid="1026"/>
                                        </p:tgtEl>
                                        <p:attrNameLst>
                                          <p:attrName>style.visibility</p:attrName>
                                        </p:attrNameLst>
                                      </p:cBhvr>
                                      <p:to>
                                        <p:strVal val="visible"/>
                                      </p:to>
                                    </p:set>
                                    <p:animEffect transition="in" filter="fade">
                                      <p:cBhvr>
                                        <p:cTn id="51" dur="500"/>
                                        <p:tgtEl>
                                          <p:spTgt spid="1026"/>
                                        </p:tgtEl>
                                      </p:cBhvr>
                                    </p:animEffect>
                                  </p:childTnLst>
                                </p:cTn>
                              </p:par>
                              <p:par>
                                <p:cTn id="52" presetID="10" presetClass="entr" presetSubtype="0" fill="hold" nodeType="withEffect">
                                  <p:stCondLst>
                                    <p:cond delay="0"/>
                                  </p:stCondLst>
                                  <p:childTnLst>
                                    <p:set>
                                      <p:cBhvr>
                                        <p:cTn id="53" dur="1" fill="hold">
                                          <p:stCondLst>
                                            <p:cond delay="0"/>
                                          </p:stCondLst>
                                        </p:cTn>
                                        <p:tgtEl>
                                          <p:spTgt spid="44"/>
                                        </p:tgtEl>
                                        <p:attrNameLst>
                                          <p:attrName>style.visibility</p:attrName>
                                        </p:attrNameLst>
                                      </p:cBhvr>
                                      <p:to>
                                        <p:strVal val="visible"/>
                                      </p:to>
                                    </p:set>
                                    <p:animEffect transition="in" filter="fade">
                                      <p:cBhvr>
                                        <p:cTn id="54" dur="500"/>
                                        <p:tgtEl>
                                          <p:spTgt spid="44"/>
                                        </p:tgtEl>
                                      </p:cBhvr>
                                    </p:animEffect>
                                  </p:childTnLst>
                                </p:cTn>
                              </p:par>
                              <p:par>
                                <p:cTn id="55" presetID="10" presetClass="entr" presetSubtype="0" fill="hold" nodeType="withEffect">
                                  <p:stCondLst>
                                    <p:cond delay="0"/>
                                  </p:stCondLst>
                                  <p:childTnLst>
                                    <p:set>
                                      <p:cBhvr>
                                        <p:cTn id="56" dur="1" fill="hold">
                                          <p:stCondLst>
                                            <p:cond delay="0"/>
                                          </p:stCondLst>
                                        </p:cTn>
                                        <p:tgtEl>
                                          <p:spTgt spid="57"/>
                                        </p:tgtEl>
                                        <p:attrNameLst>
                                          <p:attrName>style.visibility</p:attrName>
                                        </p:attrNameLst>
                                      </p:cBhvr>
                                      <p:to>
                                        <p:strVal val="visible"/>
                                      </p:to>
                                    </p:set>
                                    <p:animEffect transition="in" filter="fade">
                                      <p:cBhvr>
                                        <p:cTn id="57" dur="500"/>
                                        <p:tgtEl>
                                          <p:spTgt spid="57"/>
                                        </p:tgtEl>
                                      </p:cBhvr>
                                    </p:animEffect>
                                  </p:childTnLst>
                                </p:cTn>
                              </p:par>
                              <p:par>
                                <p:cTn id="58" presetID="10" presetClass="entr" presetSubtype="0" fill="hold" nodeType="withEffect">
                                  <p:stCondLst>
                                    <p:cond delay="0"/>
                                  </p:stCondLst>
                                  <p:childTnLst>
                                    <p:set>
                                      <p:cBhvr>
                                        <p:cTn id="59" dur="1" fill="hold">
                                          <p:stCondLst>
                                            <p:cond delay="0"/>
                                          </p:stCondLst>
                                        </p:cTn>
                                        <p:tgtEl>
                                          <p:spTgt spid="46"/>
                                        </p:tgtEl>
                                        <p:attrNameLst>
                                          <p:attrName>style.visibility</p:attrName>
                                        </p:attrNameLst>
                                      </p:cBhvr>
                                      <p:to>
                                        <p:strVal val="visible"/>
                                      </p:to>
                                    </p:set>
                                    <p:animEffect transition="in" filter="fade">
                                      <p:cBhvr>
                                        <p:cTn id="60" dur="500"/>
                                        <p:tgtEl>
                                          <p:spTgt spid="46"/>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65"/>
                                        </p:tgtEl>
                                        <p:attrNameLst>
                                          <p:attrName>style.visibility</p:attrName>
                                        </p:attrNameLst>
                                      </p:cBhvr>
                                      <p:to>
                                        <p:strVal val="visible"/>
                                      </p:to>
                                    </p:set>
                                    <p:animEffect transition="in" filter="fade">
                                      <p:cBhvr>
                                        <p:cTn id="63"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64" fill="hold" display="0">
                  <p:stCondLst>
                    <p:cond delay="indefinite"/>
                  </p:stCondLst>
                  <p:endCondLst>
                    <p:cond evt="onStopAudio" delay="0">
                      <p:tgtEl>
                        <p:sldTgt/>
                      </p:tgtEl>
                    </p:cond>
                  </p:endCondLst>
                </p:cTn>
                <p:tgtEl>
                  <p:spTgt spid="13"/>
                </p:tgtEl>
              </p:cMediaNode>
            </p:audio>
          </p:childTnLst>
        </p:cTn>
      </p:par>
    </p:tnLst>
    <p:bldLst>
      <p:bldP spid="10" grpId="0" animBg="1" autoUpdateAnimBg="0"/>
      <p:bldP spid="11" grpId="0" animBg="1" autoUpdateAnimBg="0"/>
      <p:bldP spid="12" grpId="0" animBg="1" autoUpdateAnimBg="0"/>
      <p:bldP spid="16" grpId="0" animBg="1" autoUpdateAnimBg="0"/>
      <p:bldP spid="17" grpId="0" animBg="1" autoUpdateAnimBg="0"/>
      <p:bldP spid="45" grpId="0" animBg="1" autoUpdateAnimBg="0"/>
      <p:bldP spid="65" grpId="0" animBg="1" autoUpdateAnimBg="0"/>
      <p:bldP spid="6" grpId="0" animBg="1" autoUpdateAnimBg="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Placeholder">
            <a:extLst>
              <a:ext uri="{FF2B5EF4-FFF2-40B4-BE49-F238E27FC236}">
                <a16:creationId xmlns:a16="http://schemas.microsoft.com/office/drawing/2014/main" id="{0132788E-68DB-D334-DD9C-7FF0C05113D9}"/>
              </a:ext>
            </a:extLst>
          </p:cNvPr>
          <p:cNvSpPr>
            <a:spLocks noGrp="1"/>
          </p:cNvSpPr>
          <p:nvPr>
            <p:ph type="title"/>
          </p:nvPr>
        </p:nvSpPr>
        <p:spPr/>
        <p:txBody>
          <a:bodyPr>
            <a:normAutofit fontScale="90000"/>
          </a:bodyPr>
          <a:lstStyle/>
          <a:p>
            <a:r>
              <a:rPr lang="en-US" dirty="0"/>
              <a:t>Convert</a:t>
            </a:r>
          </a:p>
        </p:txBody>
      </p:sp>
      <p:sp>
        <p:nvSpPr>
          <p:cNvPr id="37" name="Freeform: Shape 36">
            <a:extLst>
              <a:ext uri="{FF2B5EF4-FFF2-40B4-BE49-F238E27FC236}">
                <a16:creationId xmlns:a16="http://schemas.microsoft.com/office/drawing/2014/main" id="{0644C559-943C-89C3-3ACB-0CBF0324FBB6}"/>
              </a:ext>
            </a:extLst>
          </p:cNvPr>
          <p:cNvSpPr/>
          <p:nvPr/>
        </p:nvSpPr>
        <p:spPr>
          <a:xfrm>
            <a:off x="64653" y="713331"/>
            <a:ext cx="12053455" cy="815490"/>
          </a:xfrm>
          <a:custGeom>
            <a:avLst/>
            <a:gdLst>
              <a:gd name="connsiteX0" fmla="*/ 0 w 12053455"/>
              <a:gd name="connsiteY0" fmla="*/ 135918 h 815490"/>
              <a:gd name="connsiteX1" fmla="*/ 135918 w 12053455"/>
              <a:gd name="connsiteY1" fmla="*/ 0 h 815490"/>
              <a:gd name="connsiteX2" fmla="*/ 11917537 w 12053455"/>
              <a:gd name="connsiteY2" fmla="*/ 0 h 815490"/>
              <a:gd name="connsiteX3" fmla="*/ 12053455 w 12053455"/>
              <a:gd name="connsiteY3" fmla="*/ 135918 h 815490"/>
              <a:gd name="connsiteX4" fmla="*/ 12053455 w 12053455"/>
              <a:gd name="connsiteY4" fmla="*/ 679572 h 815490"/>
              <a:gd name="connsiteX5" fmla="*/ 11917537 w 12053455"/>
              <a:gd name="connsiteY5" fmla="*/ 815490 h 815490"/>
              <a:gd name="connsiteX6" fmla="*/ 135918 w 12053455"/>
              <a:gd name="connsiteY6" fmla="*/ 815490 h 815490"/>
              <a:gd name="connsiteX7" fmla="*/ 0 w 12053455"/>
              <a:gd name="connsiteY7" fmla="*/ 679572 h 815490"/>
              <a:gd name="connsiteX8" fmla="*/ 0 w 12053455"/>
              <a:gd name="connsiteY8" fmla="*/ 135918 h 815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53455" h="815490">
                <a:moveTo>
                  <a:pt x="0" y="135918"/>
                </a:moveTo>
                <a:cubicBezTo>
                  <a:pt x="0" y="60853"/>
                  <a:pt x="60853" y="0"/>
                  <a:pt x="135918" y="0"/>
                </a:cubicBezTo>
                <a:lnTo>
                  <a:pt x="11917537" y="0"/>
                </a:lnTo>
                <a:cubicBezTo>
                  <a:pt x="11992602" y="0"/>
                  <a:pt x="12053455" y="60853"/>
                  <a:pt x="12053455" y="135918"/>
                </a:cubicBezTo>
                <a:lnTo>
                  <a:pt x="12053455" y="679572"/>
                </a:lnTo>
                <a:cubicBezTo>
                  <a:pt x="12053455" y="754637"/>
                  <a:pt x="11992602" y="815490"/>
                  <a:pt x="11917537" y="815490"/>
                </a:cubicBezTo>
                <a:lnTo>
                  <a:pt x="135918" y="815490"/>
                </a:lnTo>
                <a:cubicBezTo>
                  <a:pt x="60853" y="815490"/>
                  <a:pt x="0" y="754637"/>
                  <a:pt x="0" y="679572"/>
                </a:cubicBezTo>
                <a:lnTo>
                  <a:pt x="0" y="135918"/>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9349" tIns="169349" rIns="169349" bIns="169349" numCol="1" spcCol="1270" anchor="ctr" anchorCtr="0">
            <a:noAutofit/>
          </a:bodyPr>
          <a:lstStyle/>
          <a:p>
            <a:pPr marL="0" lvl="0" indent="0" algn="l" defTabSz="1511300">
              <a:lnSpc>
                <a:spcPct val="90000"/>
              </a:lnSpc>
              <a:spcBef>
                <a:spcPct val="0"/>
              </a:spcBef>
              <a:spcAft>
                <a:spcPct val="35000"/>
              </a:spcAft>
              <a:buNone/>
            </a:pPr>
            <a:r>
              <a:rPr lang="en-US" sz="3400" kern="1200" dirty="0"/>
              <a:t>Installed Application (Windows Only)</a:t>
            </a:r>
          </a:p>
        </p:txBody>
      </p:sp>
      <p:sp>
        <p:nvSpPr>
          <p:cNvPr id="38" name="Freeform: Shape 37">
            <a:extLst>
              <a:ext uri="{FF2B5EF4-FFF2-40B4-BE49-F238E27FC236}">
                <a16:creationId xmlns:a16="http://schemas.microsoft.com/office/drawing/2014/main" id="{61490055-F0DE-6398-BBB9-A9840BD6E1C0}"/>
              </a:ext>
            </a:extLst>
          </p:cNvPr>
          <p:cNvSpPr/>
          <p:nvPr/>
        </p:nvSpPr>
        <p:spPr>
          <a:xfrm>
            <a:off x="64653" y="1528821"/>
            <a:ext cx="12053455" cy="563040"/>
          </a:xfrm>
          <a:custGeom>
            <a:avLst/>
            <a:gdLst>
              <a:gd name="connsiteX0" fmla="*/ 0 w 12053455"/>
              <a:gd name="connsiteY0" fmla="*/ 0 h 563040"/>
              <a:gd name="connsiteX1" fmla="*/ 12053455 w 12053455"/>
              <a:gd name="connsiteY1" fmla="*/ 0 h 563040"/>
              <a:gd name="connsiteX2" fmla="*/ 12053455 w 12053455"/>
              <a:gd name="connsiteY2" fmla="*/ 563040 h 563040"/>
              <a:gd name="connsiteX3" fmla="*/ 0 w 12053455"/>
              <a:gd name="connsiteY3" fmla="*/ 563040 h 563040"/>
              <a:gd name="connsiteX4" fmla="*/ 0 w 12053455"/>
              <a:gd name="connsiteY4" fmla="*/ 0 h 563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3455" h="563040">
                <a:moveTo>
                  <a:pt x="0" y="0"/>
                </a:moveTo>
                <a:lnTo>
                  <a:pt x="12053455" y="0"/>
                </a:lnTo>
                <a:lnTo>
                  <a:pt x="12053455" y="563040"/>
                </a:lnTo>
                <a:lnTo>
                  <a:pt x="0" y="56304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82697" tIns="43180" rIns="241808" bIns="43180" numCol="1" spcCol="1270" anchor="t" anchorCtr="0">
            <a:noAutofit/>
          </a:bodyPr>
          <a:lstStyle/>
          <a:p>
            <a:pPr marL="228600" lvl="1" indent="-228600" algn="l" defTabSz="1200150">
              <a:lnSpc>
                <a:spcPct val="90000"/>
              </a:lnSpc>
              <a:spcBef>
                <a:spcPct val="0"/>
              </a:spcBef>
              <a:spcAft>
                <a:spcPct val="20000"/>
              </a:spcAft>
              <a:buChar char="•"/>
            </a:pPr>
            <a:r>
              <a:rPr lang="en-US" sz="2700" kern="1200" dirty="0"/>
              <a:t>Results on your computer or your LAN</a:t>
            </a:r>
          </a:p>
        </p:txBody>
      </p:sp>
      <p:sp>
        <p:nvSpPr>
          <p:cNvPr id="39" name="Freeform: Shape 38">
            <a:extLst>
              <a:ext uri="{FF2B5EF4-FFF2-40B4-BE49-F238E27FC236}">
                <a16:creationId xmlns:a16="http://schemas.microsoft.com/office/drawing/2014/main" id="{C33092D1-BF52-5F2D-A76D-6BC042AF5E8F}"/>
              </a:ext>
            </a:extLst>
          </p:cNvPr>
          <p:cNvSpPr/>
          <p:nvPr/>
        </p:nvSpPr>
        <p:spPr>
          <a:xfrm>
            <a:off x="64653" y="2091861"/>
            <a:ext cx="12053455" cy="815490"/>
          </a:xfrm>
          <a:custGeom>
            <a:avLst/>
            <a:gdLst>
              <a:gd name="connsiteX0" fmla="*/ 0 w 12053455"/>
              <a:gd name="connsiteY0" fmla="*/ 135918 h 815490"/>
              <a:gd name="connsiteX1" fmla="*/ 135918 w 12053455"/>
              <a:gd name="connsiteY1" fmla="*/ 0 h 815490"/>
              <a:gd name="connsiteX2" fmla="*/ 11917537 w 12053455"/>
              <a:gd name="connsiteY2" fmla="*/ 0 h 815490"/>
              <a:gd name="connsiteX3" fmla="*/ 12053455 w 12053455"/>
              <a:gd name="connsiteY3" fmla="*/ 135918 h 815490"/>
              <a:gd name="connsiteX4" fmla="*/ 12053455 w 12053455"/>
              <a:gd name="connsiteY4" fmla="*/ 679572 h 815490"/>
              <a:gd name="connsiteX5" fmla="*/ 11917537 w 12053455"/>
              <a:gd name="connsiteY5" fmla="*/ 815490 h 815490"/>
              <a:gd name="connsiteX6" fmla="*/ 135918 w 12053455"/>
              <a:gd name="connsiteY6" fmla="*/ 815490 h 815490"/>
              <a:gd name="connsiteX7" fmla="*/ 0 w 12053455"/>
              <a:gd name="connsiteY7" fmla="*/ 679572 h 815490"/>
              <a:gd name="connsiteX8" fmla="*/ 0 w 12053455"/>
              <a:gd name="connsiteY8" fmla="*/ 135918 h 815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53455" h="815490">
                <a:moveTo>
                  <a:pt x="0" y="135918"/>
                </a:moveTo>
                <a:cubicBezTo>
                  <a:pt x="0" y="60853"/>
                  <a:pt x="60853" y="0"/>
                  <a:pt x="135918" y="0"/>
                </a:cubicBezTo>
                <a:lnTo>
                  <a:pt x="11917537" y="0"/>
                </a:lnTo>
                <a:cubicBezTo>
                  <a:pt x="11992602" y="0"/>
                  <a:pt x="12053455" y="60853"/>
                  <a:pt x="12053455" y="135918"/>
                </a:cubicBezTo>
                <a:lnTo>
                  <a:pt x="12053455" y="679572"/>
                </a:lnTo>
                <a:cubicBezTo>
                  <a:pt x="12053455" y="754637"/>
                  <a:pt x="11992602" y="815490"/>
                  <a:pt x="11917537" y="815490"/>
                </a:cubicBezTo>
                <a:lnTo>
                  <a:pt x="135918" y="815490"/>
                </a:lnTo>
                <a:cubicBezTo>
                  <a:pt x="60853" y="815490"/>
                  <a:pt x="0" y="754637"/>
                  <a:pt x="0" y="679572"/>
                </a:cubicBezTo>
                <a:lnTo>
                  <a:pt x="0" y="135918"/>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9349" tIns="169349" rIns="169349" bIns="169349" numCol="1" spcCol="1270" anchor="ctr" anchorCtr="0">
            <a:noAutofit/>
          </a:bodyPr>
          <a:lstStyle/>
          <a:p>
            <a:pPr marL="0" lvl="0" indent="0" algn="l" defTabSz="1511300">
              <a:lnSpc>
                <a:spcPct val="90000"/>
              </a:lnSpc>
              <a:spcBef>
                <a:spcPct val="0"/>
              </a:spcBef>
              <a:spcAft>
                <a:spcPct val="35000"/>
              </a:spcAft>
              <a:buNone/>
            </a:pPr>
            <a:r>
              <a:rPr lang="en-US" sz="3400" kern="1200" dirty="0"/>
              <a:t>File Upload Link</a:t>
            </a:r>
          </a:p>
        </p:txBody>
      </p:sp>
      <p:sp>
        <p:nvSpPr>
          <p:cNvPr id="40" name="Freeform: Shape 39">
            <a:extLst>
              <a:ext uri="{FF2B5EF4-FFF2-40B4-BE49-F238E27FC236}">
                <a16:creationId xmlns:a16="http://schemas.microsoft.com/office/drawing/2014/main" id="{373463B5-9F0C-AF16-AD83-E297CFF1FB25}"/>
              </a:ext>
            </a:extLst>
          </p:cNvPr>
          <p:cNvSpPr/>
          <p:nvPr/>
        </p:nvSpPr>
        <p:spPr>
          <a:xfrm>
            <a:off x="64653" y="2907351"/>
            <a:ext cx="12053455" cy="563040"/>
          </a:xfrm>
          <a:custGeom>
            <a:avLst/>
            <a:gdLst>
              <a:gd name="connsiteX0" fmla="*/ 0 w 12053455"/>
              <a:gd name="connsiteY0" fmla="*/ 0 h 563040"/>
              <a:gd name="connsiteX1" fmla="*/ 12053455 w 12053455"/>
              <a:gd name="connsiteY1" fmla="*/ 0 h 563040"/>
              <a:gd name="connsiteX2" fmla="*/ 12053455 w 12053455"/>
              <a:gd name="connsiteY2" fmla="*/ 563040 h 563040"/>
              <a:gd name="connsiteX3" fmla="*/ 0 w 12053455"/>
              <a:gd name="connsiteY3" fmla="*/ 563040 h 563040"/>
              <a:gd name="connsiteX4" fmla="*/ 0 w 12053455"/>
              <a:gd name="connsiteY4" fmla="*/ 0 h 563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3455" h="563040">
                <a:moveTo>
                  <a:pt x="0" y="0"/>
                </a:moveTo>
                <a:lnTo>
                  <a:pt x="12053455" y="0"/>
                </a:lnTo>
                <a:lnTo>
                  <a:pt x="12053455" y="563040"/>
                </a:lnTo>
                <a:lnTo>
                  <a:pt x="0" y="56304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82697" tIns="43180" rIns="241808" bIns="43180" numCol="1" spcCol="1270" anchor="t" anchorCtr="0">
            <a:noAutofit/>
          </a:bodyPr>
          <a:lstStyle/>
          <a:p>
            <a:pPr marL="228600" lvl="1" indent="-228600" algn="l" defTabSz="1200150">
              <a:lnSpc>
                <a:spcPct val="90000"/>
              </a:lnSpc>
              <a:spcBef>
                <a:spcPct val="0"/>
              </a:spcBef>
              <a:spcAft>
                <a:spcPct val="20000"/>
              </a:spcAft>
              <a:buChar char="•"/>
            </a:pPr>
            <a:r>
              <a:rPr lang="en-US" sz="2700" kern="1200"/>
              <a:t>Notified once complete with a Download Link</a:t>
            </a:r>
          </a:p>
        </p:txBody>
      </p:sp>
      <p:sp>
        <p:nvSpPr>
          <p:cNvPr id="41" name="Freeform: Shape 40">
            <a:extLst>
              <a:ext uri="{FF2B5EF4-FFF2-40B4-BE49-F238E27FC236}">
                <a16:creationId xmlns:a16="http://schemas.microsoft.com/office/drawing/2014/main" id="{19EAB7D3-2DC4-4FA6-F2AB-B159E3C6570E}"/>
              </a:ext>
            </a:extLst>
          </p:cNvPr>
          <p:cNvSpPr/>
          <p:nvPr/>
        </p:nvSpPr>
        <p:spPr>
          <a:xfrm>
            <a:off x="64653" y="3470391"/>
            <a:ext cx="12053455" cy="815490"/>
          </a:xfrm>
          <a:custGeom>
            <a:avLst/>
            <a:gdLst>
              <a:gd name="connsiteX0" fmla="*/ 0 w 12053455"/>
              <a:gd name="connsiteY0" fmla="*/ 135918 h 815490"/>
              <a:gd name="connsiteX1" fmla="*/ 135918 w 12053455"/>
              <a:gd name="connsiteY1" fmla="*/ 0 h 815490"/>
              <a:gd name="connsiteX2" fmla="*/ 11917537 w 12053455"/>
              <a:gd name="connsiteY2" fmla="*/ 0 h 815490"/>
              <a:gd name="connsiteX3" fmla="*/ 12053455 w 12053455"/>
              <a:gd name="connsiteY3" fmla="*/ 135918 h 815490"/>
              <a:gd name="connsiteX4" fmla="*/ 12053455 w 12053455"/>
              <a:gd name="connsiteY4" fmla="*/ 679572 h 815490"/>
              <a:gd name="connsiteX5" fmla="*/ 11917537 w 12053455"/>
              <a:gd name="connsiteY5" fmla="*/ 815490 h 815490"/>
              <a:gd name="connsiteX6" fmla="*/ 135918 w 12053455"/>
              <a:gd name="connsiteY6" fmla="*/ 815490 h 815490"/>
              <a:gd name="connsiteX7" fmla="*/ 0 w 12053455"/>
              <a:gd name="connsiteY7" fmla="*/ 679572 h 815490"/>
              <a:gd name="connsiteX8" fmla="*/ 0 w 12053455"/>
              <a:gd name="connsiteY8" fmla="*/ 135918 h 815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53455" h="815490">
                <a:moveTo>
                  <a:pt x="0" y="135918"/>
                </a:moveTo>
                <a:cubicBezTo>
                  <a:pt x="0" y="60853"/>
                  <a:pt x="60853" y="0"/>
                  <a:pt x="135918" y="0"/>
                </a:cubicBezTo>
                <a:lnTo>
                  <a:pt x="11917537" y="0"/>
                </a:lnTo>
                <a:cubicBezTo>
                  <a:pt x="11992602" y="0"/>
                  <a:pt x="12053455" y="60853"/>
                  <a:pt x="12053455" y="135918"/>
                </a:cubicBezTo>
                <a:lnTo>
                  <a:pt x="12053455" y="679572"/>
                </a:lnTo>
                <a:cubicBezTo>
                  <a:pt x="12053455" y="754637"/>
                  <a:pt x="11992602" y="815490"/>
                  <a:pt x="11917537" y="815490"/>
                </a:cubicBezTo>
                <a:lnTo>
                  <a:pt x="135918" y="815490"/>
                </a:lnTo>
                <a:cubicBezTo>
                  <a:pt x="60853" y="815490"/>
                  <a:pt x="0" y="754637"/>
                  <a:pt x="0" y="679572"/>
                </a:cubicBezTo>
                <a:lnTo>
                  <a:pt x="0" y="135918"/>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9349" tIns="169349" rIns="169349" bIns="169349" numCol="1" spcCol="1270" anchor="ctr" anchorCtr="0">
            <a:noAutofit/>
          </a:bodyPr>
          <a:lstStyle/>
          <a:p>
            <a:pPr marL="0" lvl="0" indent="0" algn="l" defTabSz="1511300">
              <a:lnSpc>
                <a:spcPct val="90000"/>
              </a:lnSpc>
              <a:spcBef>
                <a:spcPct val="0"/>
              </a:spcBef>
              <a:spcAft>
                <a:spcPct val="35000"/>
              </a:spcAft>
              <a:buNone/>
            </a:pPr>
            <a:r>
              <a:rPr lang="en-US" sz="3400" kern="1200"/>
              <a:t>File Share</a:t>
            </a:r>
          </a:p>
        </p:txBody>
      </p:sp>
      <p:sp>
        <p:nvSpPr>
          <p:cNvPr id="42" name="Freeform: Shape 41">
            <a:extLst>
              <a:ext uri="{FF2B5EF4-FFF2-40B4-BE49-F238E27FC236}">
                <a16:creationId xmlns:a16="http://schemas.microsoft.com/office/drawing/2014/main" id="{1152F189-4C80-0078-E7CD-4450A0581C8A}"/>
              </a:ext>
            </a:extLst>
          </p:cNvPr>
          <p:cNvSpPr/>
          <p:nvPr/>
        </p:nvSpPr>
        <p:spPr>
          <a:xfrm>
            <a:off x="64653" y="4285881"/>
            <a:ext cx="12053455" cy="563040"/>
          </a:xfrm>
          <a:custGeom>
            <a:avLst/>
            <a:gdLst>
              <a:gd name="connsiteX0" fmla="*/ 0 w 12053455"/>
              <a:gd name="connsiteY0" fmla="*/ 0 h 563040"/>
              <a:gd name="connsiteX1" fmla="*/ 12053455 w 12053455"/>
              <a:gd name="connsiteY1" fmla="*/ 0 h 563040"/>
              <a:gd name="connsiteX2" fmla="*/ 12053455 w 12053455"/>
              <a:gd name="connsiteY2" fmla="*/ 563040 h 563040"/>
              <a:gd name="connsiteX3" fmla="*/ 0 w 12053455"/>
              <a:gd name="connsiteY3" fmla="*/ 563040 h 563040"/>
              <a:gd name="connsiteX4" fmla="*/ 0 w 12053455"/>
              <a:gd name="connsiteY4" fmla="*/ 0 h 563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3455" h="563040">
                <a:moveTo>
                  <a:pt x="0" y="0"/>
                </a:moveTo>
                <a:lnTo>
                  <a:pt x="12053455" y="0"/>
                </a:lnTo>
                <a:lnTo>
                  <a:pt x="12053455" y="563040"/>
                </a:lnTo>
                <a:lnTo>
                  <a:pt x="0" y="56304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82697" tIns="43180" rIns="241808" bIns="43180" numCol="1" spcCol="1270" anchor="t" anchorCtr="0">
            <a:noAutofit/>
          </a:bodyPr>
          <a:lstStyle/>
          <a:p>
            <a:pPr marL="228600" lvl="1" indent="-228600" algn="l" defTabSz="1200150">
              <a:lnSpc>
                <a:spcPct val="90000"/>
              </a:lnSpc>
              <a:spcBef>
                <a:spcPct val="0"/>
              </a:spcBef>
              <a:spcAft>
                <a:spcPct val="20000"/>
              </a:spcAft>
              <a:buChar char="•"/>
            </a:pPr>
            <a:r>
              <a:rPr lang="en-US" sz="2700" kern="1200" dirty="0"/>
              <a:t>New Folder created in your File Share</a:t>
            </a:r>
          </a:p>
        </p:txBody>
      </p:sp>
      <p:sp>
        <p:nvSpPr>
          <p:cNvPr id="43" name="Freeform: Shape 42">
            <a:extLst>
              <a:ext uri="{FF2B5EF4-FFF2-40B4-BE49-F238E27FC236}">
                <a16:creationId xmlns:a16="http://schemas.microsoft.com/office/drawing/2014/main" id="{3654C18C-ACAF-E362-1818-D9646813BB83}"/>
              </a:ext>
            </a:extLst>
          </p:cNvPr>
          <p:cNvSpPr/>
          <p:nvPr/>
        </p:nvSpPr>
        <p:spPr>
          <a:xfrm>
            <a:off x="64653" y="4848921"/>
            <a:ext cx="12053455" cy="815490"/>
          </a:xfrm>
          <a:custGeom>
            <a:avLst/>
            <a:gdLst>
              <a:gd name="connsiteX0" fmla="*/ 0 w 12053455"/>
              <a:gd name="connsiteY0" fmla="*/ 135918 h 815490"/>
              <a:gd name="connsiteX1" fmla="*/ 135918 w 12053455"/>
              <a:gd name="connsiteY1" fmla="*/ 0 h 815490"/>
              <a:gd name="connsiteX2" fmla="*/ 11917537 w 12053455"/>
              <a:gd name="connsiteY2" fmla="*/ 0 h 815490"/>
              <a:gd name="connsiteX3" fmla="*/ 12053455 w 12053455"/>
              <a:gd name="connsiteY3" fmla="*/ 135918 h 815490"/>
              <a:gd name="connsiteX4" fmla="*/ 12053455 w 12053455"/>
              <a:gd name="connsiteY4" fmla="*/ 679572 h 815490"/>
              <a:gd name="connsiteX5" fmla="*/ 11917537 w 12053455"/>
              <a:gd name="connsiteY5" fmla="*/ 815490 h 815490"/>
              <a:gd name="connsiteX6" fmla="*/ 135918 w 12053455"/>
              <a:gd name="connsiteY6" fmla="*/ 815490 h 815490"/>
              <a:gd name="connsiteX7" fmla="*/ 0 w 12053455"/>
              <a:gd name="connsiteY7" fmla="*/ 679572 h 815490"/>
              <a:gd name="connsiteX8" fmla="*/ 0 w 12053455"/>
              <a:gd name="connsiteY8" fmla="*/ 135918 h 815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53455" h="815490">
                <a:moveTo>
                  <a:pt x="0" y="135918"/>
                </a:moveTo>
                <a:cubicBezTo>
                  <a:pt x="0" y="60853"/>
                  <a:pt x="60853" y="0"/>
                  <a:pt x="135918" y="0"/>
                </a:cubicBezTo>
                <a:lnTo>
                  <a:pt x="11917537" y="0"/>
                </a:lnTo>
                <a:cubicBezTo>
                  <a:pt x="11992602" y="0"/>
                  <a:pt x="12053455" y="60853"/>
                  <a:pt x="12053455" y="135918"/>
                </a:cubicBezTo>
                <a:lnTo>
                  <a:pt x="12053455" y="679572"/>
                </a:lnTo>
                <a:cubicBezTo>
                  <a:pt x="12053455" y="754637"/>
                  <a:pt x="11992602" y="815490"/>
                  <a:pt x="11917537" y="815490"/>
                </a:cubicBezTo>
                <a:lnTo>
                  <a:pt x="135918" y="815490"/>
                </a:lnTo>
                <a:cubicBezTo>
                  <a:pt x="60853" y="815490"/>
                  <a:pt x="0" y="754637"/>
                  <a:pt x="0" y="679572"/>
                </a:cubicBezTo>
                <a:lnTo>
                  <a:pt x="0" y="135918"/>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9349" tIns="169349" rIns="169349" bIns="169349" numCol="1" spcCol="1270" anchor="ctr" anchorCtr="0">
            <a:noAutofit/>
          </a:bodyPr>
          <a:lstStyle/>
          <a:p>
            <a:pPr marL="0" lvl="0" indent="0" algn="l" defTabSz="1511300">
              <a:lnSpc>
                <a:spcPct val="90000"/>
              </a:lnSpc>
              <a:spcBef>
                <a:spcPct val="0"/>
              </a:spcBef>
              <a:spcAft>
                <a:spcPct val="35000"/>
              </a:spcAft>
              <a:buNone/>
            </a:pPr>
            <a:r>
              <a:rPr lang="en-US" sz="3400" kern="1200"/>
              <a:t>File Repository</a:t>
            </a:r>
          </a:p>
        </p:txBody>
      </p:sp>
      <p:sp>
        <p:nvSpPr>
          <p:cNvPr id="44" name="Freeform: Shape 43">
            <a:extLst>
              <a:ext uri="{FF2B5EF4-FFF2-40B4-BE49-F238E27FC236}">
                <a16:creationId xmlns:a16="http://schemas.microsoft.com/office/drawing/2014/main" id="{14063404-EBF6-0E0C-8D9C-050A00A451A7}"/>
              </a:ext>
            </a:extLst>
          </p:cNvPr>
          <p:cNvSpPr/>
          <p:nvPr/>
        </p:nvSpPr>
        <p:spPr>
          <a:xfrm>
            <a:off x="64653" y="5664411"/>
            <a:ext cx="12053455" cy="563040"/>
          </a:xfrm>
          <a:custGeom>
            <a:avLst/>
            <a:gdLst>
              <a:gd name="connsiteX0" fmla="*/ 0 w 12053455"/>
              <a:gd name="connsiteY0" fmla="*/ 0 h 563040"/>
              <a:gd name="connsiteX1" fmla="*/ 12053455 w 12053455"/>
              <a:gd name="connsiteY1" fmla="*/ 0 h 563040"/>
              <a:gd name="connsiteX2" fmla="*/ 12053455 w 12053455"/>
              <a:gd name="connsiteY2" fmla="*/ 563040 h 563040"/>
              <a:gd name="connsiteX3" fmla="*/ 0 w 12053455"/>
              <a:gd name="connsiteY3" fmla="*/ 563040 h 563040"/>
              <a:gd name="connsiteX4" fmla="*/ 0 w 12053455"/>
              <a:gd name="connsiteY4" fmla="*/ 0 h 563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3455" h="563040">
                <a:moveTo>
                  <a:pt x="0" y="0"/>
                </a:moveTo>
                <a:lnTo>
                  <a:pt x="12053455" y="0"/>
                </a:lnTo>
                <a:lnTo>
                  <a:pt x="12053455" y="563040"/>
                </a:lnTo>
                <a:lnTo>
                  <a:pt x="0" y="56304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82697" tIns="43180" rIns="241808" bIns="43180" numCol="1" spcCol="1270" anchor="t" anchorCtr="0">
            <a:noAutofit/>
          </a:bodyPr>
          <a:lstStyle/>
          <a:p>
            <a:pPr marL="228600" lvl="1" indent="-228600" algn="l" defTabSz="1200150">
              <a:lnSpc>
                <a:spcPct val="90000"/>
              </a:lnSpc>
              <a:spcBef>
                <a:spcPct val="0"/>
              </a:spcBef>
              <a:spcAft>
                <a:spcPct val="20000"/>
              </a:spcAft>
              <a:buChar char="•"/>
            </a:pPr>
            <a:r>
              <a:rPr lang="en-US" sz="2700" kern="1200" dirty="0"/>
              <a:t>New Folder created in your File Repository</a:t>
            </a:r>
          </a:p>
        </p:txBody>
      </p:sp>
      <p:sp>
        <p:nvSpPr>
          <p:cNvPr id="4" name="SectionNameTextPlaceholder">
            <a:extLst>
              <a:ext uri="{FF2B5EF4-FFF2-40B4-BE49-F238E27FC236}">
                <a16:creationId xmlns:a16="http://schemas.microsoft.com/office/drawing/2014/main" id="{7ED83DE2-5657-4BD4-B59D-2CF2A64C580E}"/>
              </a:ext>
            </a:extLst>
          </p:cNvPr>
          <p:cNvSpPr>
            <a:spLocks noGrp="1"/>
          </p:cNvSpPr>
          <p:nvPr>
            <p:ph type="body" sz="quarter" idx="3"/>
          </p:nvPr>
        </p:nvSpPr>
        <p:spPr/>
        <p:txBody>
          <a:bodyPr/>
          <a:lstStyle/>
          <a:p>
            <a:r>
              <a:rPr lang="en-US" dirty="0"/>
              <a:t>Convert</a:t>
            </a:r>
          </a:p>
        </p:txBody>
      </p:sp>
      <p:sp>
        <p:nvSpPr>
          <p:cNvPr id="5" name="ReferenceTextPlaceholder">
            <a:extLst>
              <a:ext uri="{FF2B5EF4-FFF2-40B4-BE49-F238E27FC236}">
                <a16:creationId xmlns:a16="http://schemas.microsoft.com/office/drawing/2014/main" id="{4A6C6505-2BC4-F5DB-045D-B4259C606473}"/>
              </a:ext>
            </a:extLst>
          </p:cNvPr>
          <p:cNvSpPr>
            <a:spLocks noGrp="1"/>
          </p:cNvSpPr>
          <p:nvPr>
            <p:ph type="body" sz="quarter" idx="20"/>
          </p:nvPr>
        </p:nvSpPr>
        <p:spPr/>
        <p:txBody>
          <a:bodyPr/>
          <a:lstStyle/>
          <a:p>
            <a:endParaRPr lang="en-US" dirty="0"/>
          </a:p>
        </p:txBody>
      </p:sp>
      <p:sp>
        <p:nvSpPr>
          <p:cNvPr id="6" name="rectHighlight">
            <a:extLst>
              <a:ext uri="{FF2B5EF4-FFF2-40B4-BE49-F238E27FC236}">
                <a16:creationId xmlns:a16="http://schemas.microsoft.com/office/drawing/2014/main" id="{C3BC6355-6F9C-15EF-1744-845B4A600C19}"/>
              </a:ext>
            </a:extLst>
          </p:cNvPr>
          <p:cNvSpPr/>
          <p:nvPr/>
        </p:nvSpPr>
        <p:spPr>
          <a:xfrm>
            <a:off x="4087309" y="27881"/>
            <a:ext cx="1965252" cy="588427"/>
          </a:xfrm>
          <a:prstGeom prst="roundRect">
            <a:avLst/>
          </a:prstGeom>
          <a:noFill/>
          <a:ln w="5715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solidFill>
            </a:endParaRPr>
          </a:p>
        </p:txBody>
      </p:sp>
      <p:sp>
        <p:nvSpPr>
          <p:cNvPr id="9" name="Rectangle: Rounded Corners 8">
            <a:extLst>
              <a:ext uri="{FF2B5EF4-FFF2-40B4-BE49-F238E27FC236}">
                <a16:creationId xmlns:a16="http://schemas.microsoft.com/office/drawing/2014/main" id="{959D6A85-7A6D-3DA1-552C-0E76E9DB2DA6}"/>
              </a:ext>
            </a:extLst>
          </p:cNvPr>
          <p:cNvSpPr/>
          <p:nvPr/>
        </p:nvSpPr>
        <p:spPr>
          <a:xfrm>
            <a:off x="3003550" y="3549650"/>
            <a:ext cx="3049011" cy="660400"/>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pPr algn="ctr"/>
            <a:endParaRPr lang="en-US" sz="2000" dirty="0"/>
          </a:p>
        </p:txBody>
      </p:sp>
      <p:pic>
        <p:nvPicPr>
          <p:cNvPr id="2050" name="Picture 2" descr="Dropbox - Free social media icons">
            <a:hlinkClick r:id="rId6" tooltip="Learn about Dropbox"/>
            <a:extLst>
              <a:ext uri="{FF2B5EF4-FFF2-40B4-BE49-F238E27FC236}">
                <a16:creationId xmlns:a16="http://schemas.microsoft.com/office/drawing/2014/main" id="{A166663B-3FCF-C639-A211-C0582387B4A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68650" y="3622695"/>
            <a:ext cx="514350" cy="51435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Google Drive (for Business) - Review 2024 - PCMag Middle East">
            <a:hlinkClick r:id="rId8" tooltip="Learn about Google Drive"/>
            <a:extLst>
              <a:ext uri="{FF2B5EF4-FFF2-40B4-BE49-F238E27FC236}">
                <a16:creationId xmlns:a16="http://schemas.microsoft.com/office/drawing/2014/main" id="{5EBAA5FD-2EFD-03DC-F5E4-9EABD250298C}"/>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16024" r="16070"/>
          <a:stretch/>
        </p:blipFill>
        <p:spPr bwMode="auto">
          <a:xfrm>
            <a:off x="3762560" y="3627861"/>
            <a:ext cx="629549" cy="521494"/>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Box Review — Pricing, Key Info, and FAQs">
            <a:hlinkClick r:id="rId10" tooltip="Learn about Box"/>
            <a:extLst>
              <a:ext uri="{FF2B5EF4-FFF2-40B4-BE49-F238E27FC236}">
                <a16:creationId xmlns:a16="http://schemas.microsoft.com/office/drawing/2014/main" id="{86D1DAEE-BB0B-1F4C-9DC7-2300CF620AC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449683" y="3612474"/>
            <a:ext cx="701859" cy="534751"/>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Microsoft OneDrive Review | PCMag">
            <a:hlinkClick r:id="rId12" tooltip="Learn about OneDrive"/>
            <a:extLst>
              <a:ext uri="{FF2B5EF4-FFF2-40B4-BE49-F238E27FC236}">
                <a16:creationId xmlns:a16="http://schemas.microsoft.com/office/drawing/2014/main" id="{071F38B0-6AC9-2CF3-F4AA-395DB21FCEC3}"/>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7970" r="10816"/>
          <a:stretch/>
        </p:blipFill>
        <p:spPr bwMode="auto">
          <a:xfrm>
            <a:off x="5208694" y="3612474"/>
            <a:ext cx="778535" cy="539303"/>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Rounded Corners 12">
            <a:extLst>
              <a:ext uri="{FF2B5EF4-FFF2-40B4-BE49-F238E27FC236}">
                <a16:creationId xmlns:a16="http://schemas.microsoft.com/office/drawing/2014/main" id="{9AAD6E08-2975-34B7-04AB-0C2BA206AACC}"/>
              </a:ext>
            </a:extLst>
          </p:cNvPr>
          <p:cNvSpPr/>
          <p:nvPr/>
        </p:nvSpPr>
        <p:spPr>
          <a:xfrm>
            <a:off x="3003548" y="4928725"/>
            <a:ext cx="3049011" cy="660400"/>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pPr algn="ctr"/>
            <a:endParaRPr lang="en-US" sz="2000" dirty="0"/>
          </a:p>
        </p:txBody>
      </p:sp>
      <p:pic>
        <p:nvPicPr>
          <p:cNvPr id="12" name="imgGitHub" descr="What is GitHub?">
            <a:hlinkClick r:id="rId14" tooltip="Learn about GitHub"/>
            <a:extLst>
              <a:ext uri="{FF2B5EF4-FFF2-40B4-BE49-F238E27FC236}">
                <a16:creationId xmlns:a16="http://schemas.microsoft.com/office/drawing/2014/main" id="{81D22CC4-20FA-F8CB-A763-1E02F10ABD57}"/>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20228" r="20489"/>
          <a:stretch/>
        </p:blipFill>
        <p:spPr bwMode="auto">
          <a:xfrm>
            <a:off x="3168650" y="4998796"/>
            <a:ext cx="527970" cy="520259"/>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Bitbucket, logo, logos icon - Free download on Iconfinder">
            <a:hlinkClick r:id="rId16" tooltip="Learn about Bitbucket"/>
            <a:extLst>
              <a:ext uri="{FF2B5EF4-FFF2-40B4-BE49-F238E27FC236}">
                <a16:creationId xmlns:a16="http://schemas.microsoft.com/office/drawing/2014/main" id="{51DC97EA-665E-8DA1-0EC3-1972AB79A0CE}"/>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3782509" y="4954126"/>
            <a:ext cx="609600" cy="609600"/>
          </a:xfrm>
          <a:prstGeom prst="rect">
            <a:avLst/>
          </a:prstGeom>
          <a:noFill/>
          <a:extLst>
            <a:ext uri="{909E8E84-426E-40DD-AFC4-6F175D3DCCD1}">
              <a14:hiddenFill xmlns:a14="http://schemas.microsoft.com/office/drawing/2010/main">
                <a:solidFill>
                  <a:srgbClr val="FFFFFF"/>
                </a:solidFill>
              </a14:hiddenFill>
            </a:ext>
          </a:extLst>
        </p:spPr>
      </p:pic>
      <p:pic>
        <p:nvPicPr>
          <p:cNvPr id="2062" name="Picture 14" descr="azure devops color&quot; Icon - Download for ...">
            <a:hlinkClick r:id="rId18" tooltip="Learn about Azure DevOps"/>
            <a:extLst>
              <a:ext uri="{FF2B5EF4-FFF2-40B4-BE49-F238E27FC236}">
                <a16:creationId xmlns:a16="http://schemas.microsoft.com/office/drawing/2014/main" id="{49CCA498-AD66-995E-D036-DF9C31FC6E25}"/>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528054" y="4954126"/>
            <a:ext cx="564929" cy="564929"/>
          </a:xfrm>
          <a:prstGeom prst="rect">
            <a:avLst/>
          </a:prstGeom>
          <a:noFill/>
          <a:extLst>
            <a:ext uri="{909E8E84-426E-40DD-AFC4-6F175D3DCCD1}">
              <a14:hiddenFill xmlns:a14="http://schemas.microsoft.com/office/drawing/2010/main">
                <a:solidFill>
                  <a:srgbClr val="FFFFFF"/>
                </a:solidFill>
              </a14:hiddenFill>
            </a:ext>
          </a:extLst>
        </p:spPr>
      </p:pic>
      <p:pic>
        <p:nvPicPr>
          <p:cNvPr id="2064" name="Picture 16" descr="Microsoft SharePoint Logo and symbol, meaning, history, PNG, brand">
            <a:hlinkClick r:id="rId20" tooltip="Learn about SharePoint"/>
            <a:extLst>
              <a:ext uri="{FF2B5EF4-FFF2-40B4-BE49-F238E27FC236}">
                <a16:creationId xmlns:a16="http://schemas.microsoft.com/office/drawing/2014/main" id="{F9AED376-9B2F-437F-EE92-89DF149F3F07}"/>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l="22311" r="23720"/>
          <a:stretch/>
        </p:blipFill>
        <p:spPr bwMode="auto">
          <a:xfrm>
            <a:off x="5293160" y="4951099"/>
            <a:ext cx="609601" cy="635369"/>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Rounded Corners 13">
            <a:extLst>
              <a:ext uri="{FF2B5EF4-FFF2-40B4-BE49-F238E27FC236}">
                <a16:creationId xmlns:a16="http://schemas.microsoft.com/office/drawing/2014/main" id="{A2DAA6F3-D1A6-2330-1D76-41BB9475D4E0}"/>
              </a:ext>
            </a:extLst>
          </p:cNvPr>
          <p:cNvSpPr/>
          <p:nvPr/>
        </p:nvSpPr>
        <p:spPr>
          <a:xfrm>
            <a:off x="3668252" y="2161698"/>
            <a:ext cx="818587" cy="660400"/>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pPr algn="ctr"/>
            <a:endParaRPr lang="en-US" sz="2000" dirty="0"/>
          </a:p>
        </p:txBody>
      </p:sp>
      <p:sp>
        <p:nvSpPr>
          <p:cNvPr id="15" name="Rectangle: Rounded Corners 14">
            <a:extLst>
              <a:ext uri="{FF2B5EF4-FFF2-40B4-BE49-F238E27FC236}">
                <a16:creationId xmlns:a16="http://schemas.microsoft.com/office/drawing/2014/main" id="{EDA1E9AD-8CFB-D0FE-4657-3139228751A1}"/>
              </a:ext>
            </a:extLst>
          </p:cNvPr>
          <p:cNvSpPr/>
          <p:nvPr/>
        </p:nvSpPr>
        <p:spPr>
          <a:xfrm>
            <a:off x="5233972" y="2161698"/>
            <a:ext cx="818587" cy="660400"/>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pPr algn="ctr"/>
            <a:endParaRPr lang="en-US" sz="2000" dirty="0"/>
          </a:p>
        </p:txBody>
      </p:sp>
      <p:pic>
        <p:nvPicPr>
          <p:cNvPr id="2070" name="Picture 22" descr="upload&quot; Icon - Download for free – Iconduck">
            <a:extLst>
              <a:ext uri="{FF2B5EF4-FFF2-40B4-BE49-F238E27FC236}">
                <a16:creationId xmlns:a16="http://schemas.microsoft.com/office/drawing/2014/main" id="{01AA21B4-CF44-0A9A-80CE-9CB2667D74FD}"/>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3838613" y="2250597"/>
            <a:ext cx="497391" cy="497391"/>
          </a:xfrm>
          <a:prstGeom prst="rect">
            <a:avLst/>
          </a:prstGeom>
          <a:noFill/>
          <a:extLst>
            <a:ext uri="{909E8E84-426E-40DD-AFC4-6F175D3DCCD1}">
              <a14:hiddenFill xmlns:a14="http://schemas.microsoft.com/office/drawing/2010/main">
                <a:solidFill>
                  <a:srgbClr val="FFFFFF"/>
                </a:solidFill>
              </a14:hiddenFill>
            </a:ext>
          </a:extLst>
        </p:spPr>
      </p:pic>
      <p:pic>
        <p:nvPicPr>
          <p:cNvPr id="2072" name="Picture 24" descr="download&quot; Icon - Download for free – Iconduck">
            <a:extLst>
              <a:ext uri="{FF2B5EF4-FFF2-40B4-BE49-F238E27FC236}">
                <a16:creationId xmlns:a16="http://schemas.microsoft.com/office/drawing/2014/main" id="{C3C35A4B-E653-C287-C624-2FD5143557CE}"/>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5405370" y="2250597"/>
            <a:ext cx="497391" cy="497391"/>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Rounded Corners 15">
            <a:extLst>
              <a:ext uri="{FF2B5EF4-FFF2-40B4-BE49-F238E27FC236}">
                <a16:creationId xmlns:a16="http://schemas.microsoft.com/office/drawing/2014/main" id="{BB3F3250-9D2C-2C53-A94A-5EF023FB7776}"/>
              </a:ext>
            </a:extLst>
          </p:cNvPr>
          <p:cNvSpPr/>
          <p:nvPr/>
        </p:nvSpPr>
        <p:spPr>
          <a:xfrm>
            <a:off x="7879099" y="843014"/>
            <a:ext cx="3747752" cy="5408085"/>
          </a:xfrm>
          <a:prstGeom prst="roundRect">
            <a:avLst/>
          </a:prstGeom>
          <a:solidFill>
            <a:srgbClr val="8064A2"/>
          </a:solidFill>
          <a:ln w="38100">
            <a:solidFill>
              <a:srgbClr val="8064A2"/>
            </a:solidFill>
          </a:ln>
        </p:spPr>
        <p:style>
          <a:lnRef idx="2">
            <a:schemeClr val="accent1">
              <a:shade val="15000"/>
            </a:schemeClr>
          </a:lnRef>
          <a:fillRef idx="1">
            <a:schemeClr val="accent1"/>
          </a:fillRef>
          <a:effectRef idx="0">
            <a:schemeClr val="accent1"/>
          </a:effectRef>
          <a:fontRef idx="minor">
            <a:schemeClr val="lt1"/>
          </a:fontRef>
        </p:style>
        <p:txBody>
          <a:bodyPr rtlCol="0" anchor="t">
            <a:normAutofit/>
          </a:bodyPr>
          <a:lstStyle/>
          <a:p>
            <a:pPr algn="ctr"/>
            <a:r>
              <a:rPr lang="en-US" sz="2800" dirty="0"/>
              <a:t>Multimodal Web Page</a:t>
            </a:r>
          </a:p>
        </p:txBody>
      </p:sp>
      <p:pic>
        <p:nvPicPr>
          <p:cNvPr id="17" name="Graphic 16" descr="Document with solid fill">
            <a:extLst>
              <a:ext uri="{FF2B5EF4-FFF2-40B4-BE49-F238E27FC236}">
                <a16:creationId xmlns:a16="http://schemas.microsoft.com/office/drawing/2014/main" id="{D791B264-F760-AD46-CE4D-0407D4524BCC}"/>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8220886" y="1643104"/>
            <a:ext cx="913591" cy="913591"/>
          </a:xfrm>
          <a:prstGeom prst="rect">
            <a:avLst/>
          </a:prstGeom>
        </p:spPr>
      </p:pic>
      <p:pic>
        <p:nvPicPr>
          <p:cNvPr id="18" name="Graphic 17" descr="Volume with solid fill">
            <a:extLst>
              <a:ext uri="{FF2B5EF4-FFF2-40B4-BE49-F238E27FC236}">
                <a16:creationId xmlns:a16="http://schemas.microsoft.com/office/drawing/2014/main" id="{5C46D6EF-1678-45CB-8EEF-E96C4901C13F}"/>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9278113" y="1643104"/>
            <a:ext cx="913591" cy="913591"/>
          </a:xfrm>
          <a:prstGeom prst="rect">
            <a:avLst/>
          </a:prstGeom>
        </p:spPr>
      </p:pic>
      <p:pic>
        <p:nvPicPr>
          <p:cNvPr id="19" name="Graphic 18" descr="Eye with solid fill">
            <a:extLst>
              <a:ext uri="{FF2B5EF4-FFF2-40B4-BE49-F238E27FC236}">
                <a16:creationId xmlns:a16="http://schemas.microsoft.com/office/drawing/2014/main" id="{234A0E6F-C6D4-301C-616E-7B0FF67BCF39}"/>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10307056" y="1649637"/>
            <a:ext cx="913591" cy="913591"/>
          </a:xfrm>
          <a:prstGeom prst="rect">
            <a:avLst/>
          </a:prstGeom>
        </p:spPr>
      </p:pic>
      <p:sp>
        <p:nvSpPr>
          <p:cNvPr id="20" name="Rectangle 19">
            <a:extLst>
              <a:ext uri="{FF2B5EF4-FFF2-40B4-BE49-F238E27FC236}">
                <a16:creationId xmlns:a16="http://schemas.microsoft.com/office/drawing/2014/main" id="{08CB6587-7FEB-760D-94B3-DE16C85B74CF}"/>
              </a:ext>
            </a:extLst>
          </p:cNvPr>
          <p:cNvSpPr/>
          <p:nvPr/>
        </p:nvSpPr>
        <p:spPr>
          <a:xfrm>
            <a:off x="8229600" y="2547813"/>
            <a:ext cx="904877" cy="29591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rmAutofit fontScale="77500" lnSpcReduction="20000"/>
          </a:bodyPr>
          <a:lstStyle/>
          <a:p>
            <a:pPr algn="ctr"/>
            <a:r>
              <a:rPr lang="en-US" sz="2100" dirty="0"/>
              <a:t>Read</a:t>
            </a:r>
            <a:endParaRPr lang="en-US" dirty="0"/>
          </a:p>
        </p:txBody>
      </p:sp>
      <p:sp>
        <p:nvSpPr>
          <p:cNvPr id="21" name="Rectangle 20">
            <a:extLst>
              <a:ext uri="{FF2B5EF4-FFF2-40B4-BE49-F238E27FC236}">
                <a16:creationId xmlns:a16="http://schemas.microsoft.com/office/drawing/2014/main" id="{616FD2F5-CC3F-58AE-4B7C-8672DEFE20EC}"/>
              </a:ext>
            </a:extLst>
          </p:cNvPr>
          <p:cNvSpPr/>
          <p:nvPr/>
        </p:nvSpPr>
        <p:spPr>
          <a:xfrm>
            <a:off x="9272684" y="2547813"/>
            <a:ext cx="904877" cy="29591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600" dirty="0"/>
              <a:t>Listen</a:t>
            </a:r>
          </a:p>
        </p:txBody>
      </p:sp>
      <p:sp>
        <p:nvSpPr>
          <p:cNvPr id="22" name="Rectangle 21">
            <a:extLst>
              <a:ext uri="{FF2B5EF4-FFF2-40B4-BE49-F238E27FC236}">
                <a16:creationId xmlns:a16="http://schemas.microsoft.com/office/drawing/2014/main" id="{0D946F41-028E-76C2-20D9-7C96CC3D5F4E}"/>
              </a:ext>
            </a:extLst>
          </p:cNvPr>
          <p:cNvSpPr/>
          <p:nvPr/>
        </p:nvSpPr>
        <p:spPr>
          <a:xfrm>
            <a:off x="10315768" y="2547813"/>
            <a:ext cx="904878" cy="29591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t>Watch</a:t>
            </a:r>
          </a:p>
        </p:txBody>
      </p:sp>
      <p:sp>
        <p:nvSpPr>
          <p:cNvPr id="23" name="Rectangle: Rounded Corners 22">
            <a:extLst>
              <a:ext uri="{FF2B5EF4-FFF2-40B4-BE49-F238E27FC236}">
                <a16:creationId xmlns:a16="http://schemas.microsoft.com/office/drawing/2014/main" id="{BB2E8181-4615-4F6E-EA52-806461F2CB06}"/>
              </a:ext>
            </a:extLst>
          </p:cNvPr>
          <p:cNvSpPr/>
          <p:nvPr/>
        </p:nvSpPr>
        <p:spPr>
          <a:xfrm>
            <a:off x="8257703" y="3114910"/>
            <a:ext cx="3049011" cy="451321"/>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r>
              <a:rPr lang="en-US" sz="2000" dirty="0">
                <a:solidFill>
                  <a:schemeClr val="tx1"/>
                </a:solidFill>
              </a:rPr>
              <a:t>          Image Files</a:t>
            </a:r>
          </a:p>
        </p:txBody>
      </p:sp>
      <p:pic>
        <p:nvPicPr>
          <p:cNvPr id="25" name="Graphic 24" descr="Open folder with solid fill">
            <a:extLst>
              <a:ext uri="{FF2B5EF4-FFF2-40B4-BE49-F238E27FC236}">
                <a16:creationId xmlns:a16="http://schemas.microsoft.com/office/drawing/2014/main" id="{A928C511-DDAB-6C94-B552-5B4E03B37727}"/>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8421629" y="3100394"/>
            <a:ext cx="480352" cy="480352"/>
          </a:xfrm>
          <a:prstGeom prst="rect">
            <a:avLst/>
          </a:prstGeom>
        </p:spPr>
      </p:pic>
      <p:sp>
        <p:nvSpPr>
          <p:cNvPr id="28" name="Rectangle: Rounded Corners 27">
            <a:extLst>
              <a:ext uri="{FF2B5EF4-FFF2-40B4-BE49-F238E27FC236}">
                <a16:creationId xmlns:a16="http://schemas.microsoft.com/office/drawing/2014/main" id="{B0532E2E-8E8F-FFB1-6E47-D6EC90A8A260}"/>
              </a:ext>
            </a:extLst>
          </p:cNvPr>
          <p:cNvSpPr/>
          <p:nvPr/>
        </p:nvSpPr>
        <p:spPr>
          <a:xfrm>
            <a:off x="8257703" y="3603565"/>
            <a:ext cx="3049011" cy="451321"/>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r>
              <a:rPr lang="en-US" sz="2000" dirty="0">
                <a:solidFill>
                  <a:schemeClr val="tx1"/>
                </a:solidFill>
              </a:rPr>
              <a:t>          Audio / Video Files</a:t>
            </a:r>
          </a:p>
        </p:txBody>
      </p:sp>
      <p:pic>
        <p:nvPicPr>
          <p:cNvPr id="29" name="Graphic 28" descr="Open folder with solid fill">
            <a:extLst>
              <a:ext uri="{FF2B5EF4-FFF2-40B4-BE49-F238E27FC236}">
                <a16:creationId xmlns:a16="http://schemas.microsoft.com/office/drawing/2014/main" id="{8EC5FC5B-C890-F801-AA79-FC7F4D7115AD}"/>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8421629" y="3589049"/>
            <a:ext cx="480352" cy="480352"/>
          </a:xfrm>
          <a:prstGeom prst="rect">
            <a:avLst/>
          </a:prstGeom>
        </p:spPr>
      </p:pic>
      <p:sp>
        <p:nvSpPr>
          <p:cNvPr id="30" name="Rectangle: Rounded Corners 29">
            <a:extLst>
              <a:ext uri="{FF2B5EF4-FFF2-40B4-BE49-F238E27FC236}">
                <a16:creationId xmlns:a16="http://schemas.microsoft.com/office/drawing/2014/main" id="{CEEEC812-82A4-BEFB-A7BA-E99E729434ED}"/>
              </a:ext>
            </a:extLst>
          </p:cNvPr>
          <p:cNvSpPr/>
          <p:nvPr/>
        </p:nvSpPr>
        <p:spPr>
          <a:xfrm>
            <a:off x="8269497" y="4099161"/>
            <a:ext cx="3049011" cy="451321"/>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r>
              <a:rPr lang="en-US" sz="2000" dirty="0">
                <a:solidFill>
                  <a:schemeClr val="tx1"/>
                </a:solidFill>
              </a:rPr>
              <a:t>          Slide Note Files</a:t>
            </a:r>
          </a:p>
        </p:txBody>
      </p:sp>
      <p:pic>
        <p:nvPicPr>
          <p:cNvPr id="31" name="Graphic 30" descr="Open folder with solid fill">
            <a:extLst>
              <a:ext uri="{FF2B5EF4-FFF2-40B4-BE49-F238E27FC236}">
                <a16:creationId xmlns:a16="http://schemas.microsoft.com/office/drawing/2014/main" id="{F420FEBE-63CA-CA94-A4CC-32EBD6AE4BB1}"/>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8433423" y="4084645"/>
            <a:ext cx="480352" cy="480352"/>
          </a:xfrm>
          <a:prstGeom prst="rect">
            <a:avLst/>
          </a:prstGeom>
        </p:spPr>
      </p:pic>
      <p:sp>
        <p:nvSpPr>
          <p:cNvPr id="32" name="Rectangle: Rounded Corners 31">
            <a:extLst>
              <a:ext uri="{FF2B5EF4-FFF2-40B4-BE49-F238E27FC236}">
                <a16:creationId xmlns:a16="http://schemas.microsoft.com/office/drawing/2014/main" id="{4E5CBBFE-40CB-0E3C-7C8F-C6E37F10ADA2}"/>
              </a:ext>
            </a:extLst>
          </p:cNvPr>
          <p:cNvSpPr/>
          <p:nvPr/>
        </p:nvSpPr>
        <p:spPr>
          <a:xfrm>
            <a:off x="8269497" y="4608453"/>
            <a:ext cx="3049011" cy="451321"/>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r>
              <a:rPr lang="en-US" sz="2000" dirty="0">
                <a:solidFill>
                  <a:schemeClr val="tx1"/>
                </a:solidFill>
              </a:rPr>
              <a:t>          Viewer Application</a:t>
            </a:r>
          </a:p>
        </p:txBody>
      </p:sp>
      <p:pic>
        <p:nvPicPr>
          <p:cNvPr id="33" name="Graphic 32" descr="Open folder with solid fill">
            <a:extLst>
              <a:ext uri="{FF2B5EF4-FFF2-40B4-BE49-F238E27FC236}">
                <a16:creationId xmlns:a16="http://schemas.microsoft.com/office/drawing/2014/main" id="{77EBD333-64E1-C107-5E4C-B3077C41AA71}"/>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8433423" y="4593937"/>
            <a:ext cx="480352" cy="480352"/>
          </a:xfrm>
          <a:prstGeom prst="rect">
            <a:avLst/>
          </a:prstGeom>
        </p:spPr>
      </p:pic>
      <p:sp>
        <p:nvSpPr>
          <p:cNvPr id="34" name="Rectangle: Rounded Corners 33">
            <a:extLst>
              <a:ext uri="{FF2B5EF4-FFF2-40B4-BE49-F238E27FC236}">
                <a16:creationId xmlns:a16="http://schemas.microsoft.com/office/drawing/2014/main" id="{FBE239A6-7D8B-EC96-13AF-340EE689FA22}"/>
              </a:ext>
            </a:extLst>
          </p:cNvPr>
          <p:cNvSpPr/>
          <p:nvPr/>
        </p:nvSpPr>
        <p:spPr>
          <a:xfrm>
            <a:off x="8269497" y="5103535"/>
            <a:ext cx="3049011" cy="451321"/>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r>
              <a:rPr lang="en-US" sz="2000" dirty="0">
                <a:solidFill>
                  <a:schemeClr val="tx1"/>
                </a:solidFill>
              </a:rPr>
              <a:t>          Index.htm</a:t>
            </a:r>
          </a:p>
        </p:txBody>
      </p:sp>
      <p:pic>
        <p:nvPicPr>
          <p:cNvPr id="27" name="Graphic 26" descr="Document with solid fill">
            <a:extLst>
              <a:ext uri="{FF2B5EF4-FFF2-40B4-BE49-F238E27FC236}">
                <a16:creationId xmlns:a16="http://schemas.microsoft.com/office/drawing/2014/main" id="{87C097E3-FBED-4AB6-A1A1-0B22B7D4F574}"/>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8444781" y="5100595"/>
            <a:ext cx="451321" cy="451321"/>
          </a:xfrm>
          <a:prstGeom prst="rect">
            <a:avLst/>
          </a:prstGeom>
        </p:spPr>
      </p:pic>
      <p:pic>
        <p:nvPicPr>
          <p:cNvPr id="3" name="Slide3">
            <a:hlinkClick r:id="" action="ppaction://media"/>
            <a:extLst>
              <a:ext uri="{FF2B5EF4-FFF2-40B4-BE49-F238E27FC236}">
                <a16:creationId xmlns:a16="http://schemas.microsoft.com/office/drawing/2014/main" id="{CC07B0B1-C072-50D0-D58A-17F068BE1CB7}"/>
              </a:ext>
            </a:extLst>
          </p:cNvPr>
          <p:cNvPicPr>
            <a:picLocks noChangeAspect="1"/>
          </p:cNvPicPr>
          <p:nvPr>
            <a:audioFile r:link="rId3"/>
            <p:extLst>
              <p:ext uri="{DAA4B4D4-6D71-4841-9C94-3DE7FCFB9230}">
                <p14:media xmlns:p14="http://schemas.microsoft.com/office/powerpoint/2010/main" r:embed="rId2"/>
              </p:ext>
            </p:extLst>
          </p:nvPr>
        </p:nvPicPr>
        <p:blipFill>
          <a:blip r:embed="rId32"/>
          <a:stretch>
            <a:fillRect/>
          </a:stretch>
        </p:blipFill>
        <p:spPr>
          <a:xfrm>
            <a:off x="11430000" y="6096000"/>
            <a:ext cx="609600" cy="609600"/>
          </a:xfrm>
          <a:prstGeom prst="rect">
            <a:avLst/>
          </a:prstGeom>
        </p:spPr>
      </p:pic>
    </p:spTree>
    <p:custDataLst>
      <p:tags r:id="rId1"/>
    </p:custDataLst>
    <p:extLst>
      <p:ext uri="{BB962C8B-B14F-4D97-AF65-F5344CB8AC3E}">
        <p14:creationId xmlns:p14="http://schemas.microsoft.com/office/powerpoint/2010/main" val="49648217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advTm="113393">
        <p159:morph option="byObject"/>
      </p:transition>
    </mc:Choice>
    <mc:Fallback>
      <p:transition spd="slow" advTm="113393">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499"/>
                                          </p:stCondLst>
                                        </p:cTn>
                                        <p:tgtEl>
                                          <p:spTgt spid="3"/>
                                        </p:tgtEl>
                                        <p:attrNameLst>
                                          <p:attrName>style.visibility</p:attrName>
                                        </p:attrNameLst>
                                      </p:cBhvr>
                                      <p:to>
                                        <p:strVal val="visible"/>
                                      </p:to>
                                    </p:set>
                                  </p:childTnLst>
                                </p:cTn>
                              </p:par>
                            </p:childTnLst>
                          </p:cTn>
                        </p:par>
                        <p:par>
                          <p:cTn id="7" fill="hold">
                            <p:stCondLst>
                              <p:cond delay="500"/>
                            </p:stCondLst>
                            <p:childTnLst>
                              <p:par>
                                <p:cTn id="8" presetID="1" presetClass="mediacall" presetSubtype="0" fill="hold" nodeType="afterEffect">
                                  <p:stCondLst>
                                    <p:cond delay="0"/>
                                  </p:stCondLst>
                                  <p:childTnLst>
                                    <p:cmd type="call" cmd="playFrom(0.0)">
                                      <p:cBhvr>
                                        <p:cTn id="9" dur="1" fill="hold"/>
                                        <p:tgtEl>
                                          <p:spTgt spid="3"/>
                                        </p:tgtEl>
                                      </p:cBhvr>
                                    </p:cmd>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37"/>
                                        </p:tgtEl>
                                        <p:attrNameLst>
                                          <p:attrName>style.visibility</p:attrName>
                                        </p:attrNameLst>
                                      </p:cBhvr>
                                      <p:to>
                                        <p:strVal val="visible"/>
                                      </p:to>
                                    </p:set>
                                    <p:animEffect transition="in" filter="fade">
                                      <p:cBhvr>
                                        <p:cTn id="14" dur="500"/>
                                        <p:tgtEl>
                                          <p:spTgt spid="37"/>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38"/>
                                        </p:tgtEl>
                                        <p:attrNameLst>
                                          <p:attrName>style.visibility</p:attrName>
                                        </p:attrNameLst>
                                      </p:cBhvr>
                                      <p:to>
                                        <p:strVal val="visible"/>
                                      </p:to>
                                    </p:set>
                                    <p:animEffect transition="in" filter="fade">
                                      <p:cBhvr>
                                        <p:cTn id="17" dur="500"/>
                                        <p:tgtEl>
                                          <p:spTgt spid="3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4"/>
                                        </p:tgtEl>
                                        <p:attrNameLst>
                                          <p:attrName>style.visibility</p:attrName>
                                        </p:attrNameLst>
                                      </p:cBhvr>
                                      <p:to>
                                        <p:strVal val="visible"/>
                                      </p:to>
                                    </p:set>
                                    <p:animEffect transition="in" filter="fade">
                                      <p:cBhvr>
                                        <p:cTn id="28" dur="500"/>
                                        <p:tgtEl>
                                          <p:spTgt spid="14"/>
                                        </p:tgtEl>
                                      </p:cBhvr>
                                    </p:animEffect>
                                  </p:childTnLst>
                                </p:cTn>
                              </p:par>
                              <p:par>
                                <p:cTn id="29" presetID="10" presetClass="entr" presetSubtype="0" fill="hold" nodeType="withEffect">
                                  <p:stCondLst>
                                    <p:cond delay="0"/>
                                  </p:stCondLst>
                                  <p:childTnLst>
                                    <p:set>
                                      <p:cBhvr>
                                        <p:cTn id="30" dur="1" fill="hold">
                                          <p:stCondLst>
                                            <p:cond delay="0"/>
                                          </p:stCondLst>
                                        </p:cTn>
                                        <p:tgtEl>
                                          <p:spTgt spid="2070"/>
                                        </p:tgtEl>
                                        <p:attrNameLst>
                                          <p:attrName>style.visibility</p:attrName>
                                        </p:attrNameLst>
                                      </p:cBhvr>
                                      <p:to>
                                        <p:strVal val="visible"/>
                                      </p:to>
                                    </p:set>
                                    <p:animEffect transition="in" filter="fade">
                                      <p:cBhvr>
                                        <p:cTn id="31" dur="500"/>
                                        <p:tgtEl>
                                          <p:spTgt spid="2070"/>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5"/>
                                        </p:tgtEl>
                                        <p:attrNameLst>
                                          <p:attrName>style.visibility</p:attrName>
                                        </p:attrNameLst>
                                      </p:cBhvr>
                                      <p:to>
                                        <p:strVal val="visible"/>
                                      </p:to>
                                    </p:set>
                                    <p:animEffect transition="in" filter="fade">
                                      <p:cBhvr>
                                        <p:cTn id="34" dur="500"/>
                                        <p:tgtEl>
                                          <p:spTgt spid="15"/>
                                        </p:tgtEl>
                                      </p:cBhvr>
                                    </p:animEffect>
                                  </p:childTnLst>
                                </p:cTn>
                              </p:par>
                              <p:par>
                                <p:cTn id="35" presetID="10" presetClass="entr" presetSubtype="0" fill="hold" nodeType="withEffect">
                                  <p:stCondLst>
                                    <p:cond delay="0"/>
                                  </p:stCondLst>
                                  <p:childTnLst>
                                    <p:set>
                                      <p:cBhvr>
                                        <p:cTn id="36" dur="1" fill="hold">
                                          <p:stCondLst>
                                            <p:cond delay="0"/>
                                          </p:stCondLst>
                                        </p:cTn>
                                        <p:tgtEl>
                                          <p:spTgt spid="2072"/>
                                        </p:tgtEl>
                                        <p:attrNameLst>
                                          <p:attrName>style.visibility</p:attrName>
                                        </p:attrNameLst>
                                      </p:cBhvr>
                                      <p:to>
                                        <p:strVal val="visible"/>
                                      </p:to>
                                    </p:set>
                                    <p:animEffect transition="in" filter="fade">
                                      <p:cBhvr>
                                        <p:cTn id="37" dur="500"/>
                                        <p:tgtEl>
                                          <p:spTgt spid="2072"/>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41"/>
                                        </p:tgtEl>
                                        <p:attrNameLst>
                                          <p:attrName>style.visibility</p:attrName>
                                        </p:attrNameLst>
                                      </p:cBhvr>
                                      <p:to>
                                        <p:strVal val="visible"/>
                                      </p:to>
                                    </p:set>
                                    <p:animEffect transition="in" filter="fade">
                                      <p:cBhvr>
                                        <p:cTn id="42" dur="500"/>
                                        <p:tgtEl>
                                          <p:spTgt spid="41"/>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42"/>
                                        </p:tgtEl>
                                        <p:attrNameLst>
                                          <p:attrName>style.visibility</p:attrName>
                                        </p:attrNameLst>
                                      </p:cBhvr>
                                      <p:to>
                                        <p:strVal val="visible"/>
                                      </p:to>
                                    </p:set>
                                    <p:animEffect transition="in" filter="fade">
                                      <p:cBhvr>
                                        <p:cTn id="45" dur="500"/>
                                        <p:tgtEl>
                                          <p:spTgt spid="42"/>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9"/>
                                        </p:tgtEl>
                                        <p:attrNameLst>
                                          <p:attrName>style.visibility</p:attrName>
                                        </p:attrNameLst>
                                      </p:cBhvr>
                                      <p:to>
                                        <p:strVal val="visible"/>
                                      </p:to>
                                    </p:set>
                                    <p:animEffect transition="in" filter="fade">
                                      <p:cBhvr>
                                        <p:cTn id="48" dur="500"/>
                                        <p:tgtEl>
                                          <p:spTgt spid="9"/>
                                        </p:tgtEl>
                                      </p:cBhvr>
                                    </p:animEffect>
                                  </p:childTnLst>
                                </p:cTn>
                              </p:par>
                              <p:par>
                                <p:cTn id="49" presetID="10" presetClass="entr" presetSubtype="0" fill="hold" nodeType="withEffect">
                                  <p:stCondLst>
                                    <p:cond delay="0"/>
                                  </p:stCondLst>
                                  <p:childTnLst>
                                    <p:set>
                                      <p:cBhvr>
                                        <p:cTn id="50" dur="1" fill="hold">
                                          <p:stCondLst>
                                            <p:cond delay="0"/>
                                          </p:stCondLst>
                                        </p:cTn>
                                        <p:tgtEl>
                                          <p:spTgt spid="2050"/>
                                        </p:tgtEl>
                                        <p:attrNameLst>
                                          <p:attrName>style.visibility</p:attrName>
                                        </p:attrNameLst>
                                      </p:cBhvr>
                                      <p:to>
                                        <p:strVal val="visible"/>
                                      </p:to>
                                    </p:set>
                                    <p:animEffect transition="in" filter="fade">
                                      <p:cBhvr>
                                        <p:cTn id="51" dur="500"/>
                                        <p:tgtEl>
                                          <p:spTgt spid="2050"/>
                                        </p:tgtEl>
                                      </p:cBhvr>
                                    </p:animEffect>
                                  </p:childTnLst>
                                </p:cTn>
                              </p:par>
                              <p:par>
                                <p:cTn id="52" presetID="10" presetClass="entr" presetSubtype="0" fill="hold" nodeType="withEffect">
                                  <p:stCondLst>
                                    <p:cond delay="0"/>
                                  </p:stCondLst>
                                  <p:childTnLst>
                                    <p:set>
                                      <p:cBhvr>
                                        <p:cTn id="53" dur="1" fill="hold">
                                          <p:stCondLst>
                                            <p:cond delay="0"/>
                                          </p:stCondLst>
                                        </p:cTn>
                                        <p:tgtEl>
                                          <p:spTgt spid="2052"/>
                                        </p:tgtEl>
                                        <p:attrNameLst>
                                          <p:attrName>style.visibility</p:attrName>
                                        </p:attrNameLst>
                                      </p:cBhvr>
                                      <p:to>
                                        <p:strVal val="visible"/>
                                      </p:to>
                                    </p:set>
                                    <p:animEffect transition="in" filter="fade">
                                      <p:cBhvr>
                                        <p:cTn id="54" dur="500"/>
                                        <p:tgtEl>
                                          <p:spTgt spid="2052"/>
                                        </p:tgtEl>
                                      </p:cBhvr>
                                    </p:animEffect>
                                  </p:childTnLst>
                                </p:cTn>
                              </p:par>
                              <p:par>
                                <p:cTn id="55" presetID="10" presetClass="entr" presetSubtype="0" fill="hold" nodeType="withEffect">
                                  <p:stCondLst>
                                    <p:cond delay="0"/>
                                  </p:stCondLst>
                                  <p:childTnLst>
                                    <p:set>
                                      <p:cBhvr>
                                        <p:cTn id="56" dur="1" fill="hold">
                                          <p:stCondLst>
                                            <p:cond delay="0"/>
                                          </p:stCondLst>
                                        </p:cTn>
                                        <p:tgtEl>
                                          <p:spTgt spid="2056"/>
                                        </p:tgtEl>
                                        <p:attrNameLst>
                                          <p:attrName>style.visibility</p:attrName>
                                        </p:attrNameLst>
                                      </p:cBhvr>
                                      <p:to>
                                        <p:strVal val="visible"/>
                                      </p:to>
                                    </p:set>
                                    <p:animEffect transition="in" filter="fade">
                                      <p:cBhvr>
                                        <p:cTn id="57" dur="500"/>
                                        <p:tgtEl>
                                          <p:spTgt spid="2056"/>
                                        </p:tgtEl>
                                      </p:cBhvr>
                                    </p:animEffect>
                                  </p:childTnLst>
                                </p:cTn>
                              </p:par>
                              <p:par>
                                <p:cTn id="58" presetID="10" presetClass="entr" presetSubtype="0" fill="hold" nodeType="withEffect">
                                  <p:stCondLst>
                                    <p:cond delay="0"/>
                                  </p:stCondLst>
                                  <p:childTnLst>
                                    <p:set>
                                      <p:cBhvr>
                                        <p:cTn id="59" dur="1" fill="hold">
                                          <p:stCondLst>
                                            <p:cond delay="0"/>
                                          </p:stCondLst>
                                        </p:cTn>
                                        <p:tgtEl>
                                          <p:spTgt spid="2058"/>
                                        </p:tgtEl>
                                        <p:attrNameLst>
                                          <p:attrName>style.visibility</p:attrName>
                                        </p:attrNameLst>
                                      </p:cBhvr>
                                      <p:to>
                                        <p:strVal val="visible"/>
                                      </p:to>
                                    </p:set>
                                    <p:animEffect transition="in" filter="fade">
                                      <p:cBhvr>
                                        <p:cTn id="60" dur="500"/>
                                        <p:tgtEl>
                                          <p:spTgt spid="2058"/>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grpId="0" nodeType="clickEffect">
                                  <p:stCondLst>
                                    <p:cond delay="0"/>
                                  </p:stCondLst>
                                  <p:childTnLst>
                                    <p:set>
                                      <p:cBhvr>
                                        <p:cTn id="64" dur="1" fill="hold">
                                          <p:stCondLst>
                                            <p:cond delay="0"/>
                                          </p:stCondLst>
                                        </p:cTn>
                                        <p:tgtEl>
                                          <p:spTgt spid="43"/>
                                        </p:tgtEl>
                                        <p:attrNameLst>
                                          <p:attrName>style.visibility</p:attrName>
                                        </p:attrNameLst>
                                      </p:cBhvr>
                                      <p:to>
                                        <p:strVal val="visible"/>
                                      </p:to>
                                    </p:set>
                                    <p:animEffect transition="in" filter="fade">
                                      <p:cBhvr>
                                        <p:cTn id="65" dur="500"/>
                                        <p:tgtEl>
                                          <p:spTgt spid="43"/>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44"/>
                                        </p:tgtEl>
                                        <p:attrNameLst>
                                          <p:attrName>style.visibility</p:attrName>
                                        </p:attrNameLst>
                                      </p:cBhvr>
                                      <p:to>
                                        <p:strVal val="visible"/>
                                      </p:to>
                                    </p:set>
                                    <p:animEffect transition="in" filter="fade">
                                      <p:cBhvr>
                                        <p:cTn id="68" dur="500"/>
                                        <p:tgtEl>
                                          <p:spTgt spid="44"/>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3"/>
                                        </p:tgtEl>
                                        <p:attrNameLst>
                                          <p:attrName>style.visibility</p:attrName>
                                        </p:attrNameLst>
                                      </p:cBhvr>
                                      <p:to>
                                        <p:strVal val="visible"/>
                                      </p:to>
                                    </p:set>
                                    <p:animEffect transition="in" filter="fade">
                                      <p:cBhvr>
                                        <p:cTn id="71" dur="500"/>
                                        <p:tgtEl>
                                          <p:spTgt spid="13"/>
                                        </p:tgtEl>
                                      </p:cBhvr>
                                    </p:animEffect>
                                  </p:childTnLst>
                                </p:cTn>
                              </p:par>
                              <p:par>
                                <p:cTn id="72" presetID="10" presetClass="entr" presetSubtype="0" fill="hold" nodeType="withEffect">
                                  <p:stCondLst>
                                    <p:cond delay="0"/>
                                  </p:stCondLst>
                                  <p:childTnLst>
                                    <p:set>
                                      <p:cBhvr>
                                        <p:cTn id="73" dur="1" fill="hold">
                                          <p:stCondLst>
                                            <p:cond delay="0"/>
                                          </p:stCondLst>
                                        </p:cTn>
                                        <p:tgtEl>
                                          <p:spTgt spid="12"/>
                                        </p:tgtEl>
                                        <p:attrNameLst>
                                          <p:attrName>style.visibility</p:attrName>
                                        </p:attrNameLst>
                                      </p:cBhvr>
                                      <p:to>
                                        <p:strVal val="visible"/>
                                      </p:to>
                                    </p:set>
                                    <p:animEffect transition="in" filter="fade">
                                      <p:cBhvr>
                                        <p:cTn id="74" dur="500"/>
                                        <p:tgtEl>
                                          <p:spTgt spid="12"/>
                                        </p:tgtEl>
                                      </p:cBhvr>
                                    </p:animEffect>
                                  </p:childTnLst>
                                </p:cTn>
                              </p:par>
                              <p:par>
                                <p:cTn id="75" presetID="10" presetClass="entr" presetSubtype="0" fill="hold" nodeType="withEffect">
                                  <p:stCondLst>
                                    <p:cond delay="0"/>
                                  </p:stCondLst>
                                  <p:childTnLst>
                                    <p:set>
                                      <p:cBhvr>
                                        <p:cTn id="76" dur="1" fill="hold">
                                          <p:stCondLst>
                                            <p:cond delay="0"/>
                                          </p:stCondLst>
                                        </p:cTn>
                                        <p:tgtEl>
                                          <p:spTgt spid="2060"/>
                                        </p:tgtEl>
                                        <p:attrNameLst>
                                          <p:attrName>style.visibility</p:attrName>
                                        </p:attrNameLst>
                                      </p:cBhvr>
                                      <p:to>
                                        <p:strVal val="visible"/>
                                      </p:to>
                                    </p:set>
                                    <p:animEffect transition="in" filter="fade">
                                      <p:cBhvr>
                                        <p:cTn id="77" dur="500"/>
                                        <p:tgtEl>
                                          <p:spTgt spid="2060"/>
                                        </p:tgtEl>
                                      </p:cBhvr>
                                    </p:animEffect>
                                  </p:childTnLst>
                                </p:cTn>
                              </p:par>
                              <p:par>
                                <p:cTn id="78" presetID="10" presetClass="entr" presetSubtype="0" fill="hold" nodeType="withEffect">
                                  <p:stCondLst>
                                    <p:cond delay="0"/>
                                  </p:stCondLst>
                                  <p:childTnLst>
                                    <p:set>
                                      <p:cBhvr>
                                        <p:cTn id="79" dur="1" fill="hold">
                                          <p:stCondLst>
                                            <p:cond delay="0"/>
                                          </p:stCondLst>
                                        </p:cTn>
                                        <p:tgtEl>
                                          <p:spTgt spid="2062"/>
                                        </p:tgtEl>
                                        <p:attrNameLst>
                                          <p:attrName>style.visibility</p:attrName>
                                        </p:attrNameLst>
                                      </p:cBhvr>
                                      <p:to>
                                        <p:strVal val="visible"/>
                                      </p:to>
                                    </p:set>
                                    <p:animEffect transition="in" filter="fade">
                                      <p:cBhvr>
                                        <p:cTn id="80" dur="500"/>
                                        <p:tgtEl>
                                          <p:spTgt spid="2062"/>
                                        </p:tgtEl>
                                      </p:cBhvr>
                                    </p:animEffect>
                                  </p:childTnLst>
                                </p:cTn>
                              </p:par>
                              <p:par>
                                <p:cTn id="81" presetID="10" presetClass="entr" presetSubtype="0" fill="hold" nodeType="withEffect">
                                  <p:stCondLst>
                                    <p:cond delay="0"/>
                                  </p:stCondLst>
                                  <p:childTnLst>
                                    <p:set>
                                      <p:cBhvr>
                                        <p:cTn id="82" dur="1" fill="hold">
                                          <p:stCondLst>
                                            <p:cond delay="0"/>
                                          </p:stCondLst>
                                        </p:cTn>
                                        <p:tgtEl>
                                          <p:spTgt spid="2064"/>
                                        </p:tgtEl>
                                        <p:attrNameLst>
                                          <p:attrName>style.visibility</p:attrName>
                                        </p:attrNameLst>
                                      </p:cBhvr>
                                      <p:to>
                                        <p:strVal val="visible"/>
                                      </p:to>
                                    </p:set>
                                    <p:animEffect transition="in" filter="fade">
                                      <p:cBhvr>
                                        <p:cTn id="83" dur="500"/>
                                        <p:tgtEl>
                                          <p:spTgt spid="2064"/>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6"/>
                                        </p:tgtEl>
                                        <p:attrNameLst>
                                          <p:attrName>style.visibility</p:attrName>
                                        </p:attrNameLst>
                                      </p:cBhvr>
                                      <p:to>
                                        <p:strVal val="visible"/>
                                      </p:to>
                                    </p:set>
                                    <p:animEffect transition="in" filter="fade">
                                      <p:cBhvr>
                                        <p:cTn id="88" dur="500"/>
                                        <p:tgtEl>
                                          <p:spTgt spid="16"/>
                                        </p:tgtEl>
                                      </p:cBhvr>
                                    </p:animEffect>
                                  </p:childTnLst>
                                </p:cTn>
                              </p:par>
                              <p:par>
                                <p:cTn id="89" presetID="10" presetClass="entr" presetSubtype="0" fill="hold" nodeType="withEffect">
                                  <p:stCondLst>
                                    <p:cond delay="0"/>
                                  </p:stCondLst>
                                  <p:childTnLst>
                                    <p:set>
                                      <p:cBhvr>
                                        <p:cTn id="90" dur="1" fill="hold">
                                          <p:stCondLst>
                                            <p:cond delay="0"/>
                                          </p:stCondLst>
                                        </p:cTn>
                                        <p:tgtEl>
                                          <p:spTgt spid="17"/>
                                        </p:tgtEl>
                                        <p:attrNameLst>
                                          <p:attrName>style.visibility</p:attrName>
                                        </p:attrNameLst>
                                      </p:cBhvr>
                                      <p:to>
                                        <p:strVal val="visible"/>
                                      </p:to>
                                    </p:set>
                                    <p:animEffect transition="in" filter="fade">
                                      <p:cBhvr>
                                        <p:cTn id="91" dur="500"/>
                                        <p:tgtEl>
                                          <p:spTgt spid="17"/>
                                        </p:tgtEl>
                                      </p:cBhvr>
                                    </p:animEffect>
                                  </p:childTnLst>
                                </p:cTn>
                              </p:par>
                              <p:par>
                                <p:cTn id="92" presetID="10" presetClass="entr" presetSubtype="0" fill="hold" nodeType="withEffect">
                                  <p:stCondLst>
                                    <p:cond delay="0"/>
                                  </p:stCondLst>
                                  <p:childTnLst>
                                    <p:set>
                                      <p:cBhvr>
                                        <p:cTn id="93" dur="1" fill="hold">
                                          <p:stCondLst>
                                            <p:cond delay="0"/>
                                          </p:stCondLst>
                                        </p:cTn>
                                        <p:tgtEl>
                                          <p:spTgt spid="18"/>
                                        </p:tgtEl>
                                        <p:attrNameLst>
                                          <p:attrName>style.visibility</p:attrName>
                                        </p:attrNameLst>
                                      </p:cBhvr>
                                      <p:to>
                                        <p:strVal val="visible"/>
                                      </p:to>
                                    </p:set>
                                    <p:animEffect transition="in" filter="fade">
                                      <p:cBhvr>
                                        <p:cTn id="94" dur="500"/>
                                        <p:tgtEl>
                                          <p:spTgt spid="18"/>
                                        </p:tgtEl>
                                      </p:cBhvr>
                                    </p:animEffect>
                                  </p:childTnLst>
                                </p:cTn>
                              </p:par>
                              <p:par>
                                <p:cTn id="95" presetID="10" presetClass="entr" presetSubtype="0" fill="hold" nodeType="withEffect">
                                  <p:stCondLst>
                                    <p:cond delay="0"/>
                                  </p:stCondLst>
                                  <p:childTnLst>
                                    <p:set>
                                      <p:cBhvr>
                                        <p:cTn id="96" dur="1" fill="hold">
                                          <p:stCondLst>
                                            <p:cond delay="0"/>
                                          </p:stCondLst>
                                        </p:cTn>
                                        <p:tgtEl>
                                          <p:spTgt spid="19"/>
                                        </p:tgtEl>
                                        <p:attrNameLst>
                                          <p:attrName>style.visibility</p:attrName>
                                        </p:attrNameLst>
                                      </p:cBhvr>
                                      <p:to>
                                        <p:strVal val="visible"/>
                                      </p:to>
                                    </p:set>
                                    <p:animEffect transition="in" filter="fade">
                                      <p:cBhvr>
                                        <p:cTn id="97" dur="500"/>
                                        <p:tgtEl>
                                          <p:spTgt spid="19"/>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20"/>
                                        </p:tgtEl>
                                        <p:attrNameLst>
                                          <p:attrName>style.visibility</p:attrName>
                                        </p:attrNameLst>
                                      </p:cBhvr>
                                      <p:to>
                                        <p:strVal val="visible"/>
                                      </p:to>
                                    </p:set>
                                    <p:animEffect transition="in" filter="fade">
                                      <p:cBhvr>
                                        <p:cTn id="100" dur="500"/>
                                        <p:tgtEl>
                                          <p:spTgt spid="20"/>
                                        </p:tgtEl>
                                      </p:cBhvr>
                                    </p:animEffect>
                                  </p:childTnLst>
                                </p:cTn>
                              </p:par>
                              <p:par>
                                <p:cTn id="101" presetID="10" presetClass="entr" presetSubtype="0" fill="hold" grpId="0" nodeType="withEffect">
                                  <p:stCondLst>
                                    <p:cond delay="0"/>
                                  </p:stCondLst>
                                  <p:childTnLst>
                                    <p:set>
                                      <p:cBhvr>
                                        <p:cTn id="102" dur="1" fill="hold">
                                          <p:stCondLst>
                                            <p:cond delay="0"/>
                                          </p:stCondLst>
                                        </p:cTn>
                                        <p:tgtEl>
                                          <p:spTgt spid="21"/>
                                        </p:tgtEl>
                                        <p:attrNameLst>
                                          <p:attrName>style.visibility</p:attrName>
                                        </p:attrNameLst>
                                      </p:cBhvr>
                                      <p:to>
                                        <p:strVal val="visible"/>
                                      </p:to>
                                    </p:set>
                                    <p:animEffect transition="in" filter="fade">
                                      <p:cBhvr>
                                        <p:cTn id="103" dur="500"/>
                                        <p:tgtEl>
                                          <p:spTgt spid="21"/>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22"/>
                                        </p:tgtEl>
                                        <p:attrNameLst>
                                          <p:attrName>style.visibility</p:attrName>
                                        </p:attrNameLst>
                                      </p:cBhvr>
                                      <p:to>
                                        <p:strVal val="visible"/>
                                      </p:to>
                                    </p:set>
                                    <p:animEffect transition="in" filter="fade">
                                      <p:cBhvr>
                                        <p:cTn id="106" dur="500"/>
                                        <p:tgtEl>
                                          <p:spTgt spid="22"/>
                                        </p:tgtEl>
                                      </p:cBhvr>
                                    </p:animEffect>
                                  </p:childTnLst>
                                </p:cTn>
                              </p:par>
                            </p:childTnLst>
                          </p:cTn>
                        </p:par>
                      </p:childTnLst>
                    </p:cTn>
                  </p:par>
                  <p:par>
                    <p:cTn id="107" fill="hold">
                      <p:stCondLst>
                        <p:cond delay="indefinite"/>
                      </p:stCondLst>
                      <p:childTnLst>
                        <p:par>
                          <p:cTn id="108" fill="hold">
                            <p:stCondLst>
                              <p:cond delay="0"/>
                            </p:stCondLst>
                            <p:childTnLst>
                              <p:par>
                                <p:cTn id="109" presetID="10" presetClass="entr" presetSubtype="0" fill="hold" grpId="0" nodeType="clickEffect">
                                  <p:stCondLst>
                                    <p:cond delay="0"/>
                                  </p:stCondLst>
                                  <p:childTnLst>
                                    <p:set>
                                      <p:cBhvr>
                                        <p:cTn id="110" dur="1" fill="hold">
                                          <p:stCondLst>
                                            <p:cond delay="0"/>
                                          </p:stCondLst>
                                        </p:cTn>
                                        <p:tgtEl>
                                          <p:spTgt spid="23"/>
                                        </p:tgtEl>
                                        <p:attrNameLst>
                                          <p:attrName>style.visibility</p:attrName>
                                        </p:attrNameLst>
                                      </p:cBhvr>
                                      <p:to>
                                        <p:strVal val="visible"/>
                                      </p:to>
                                    </p:set>
                                    <p:animEffect transition="in" filter="fade">
                                      <p:cBhvr>
                                        <p:cTn id="111" dur="500"/>
                                        <p:tgtEl>
                                          <p:spTgt spid="23"/>
                                        </p:tgtEl>
                                      </p:cBhvr>
                                    </p:animEffect>
                                  </p:childTnLst>
                                </p:cTn>
                              </p:par>
                              <p:par>
                                <p:cTn id="112" presetID="10" presetClass="entr" presetSubtype="0" fill="hold" nodeType="withEffect">
                                  <p:stCondLst>
                                    <p:cond delay="0"/>
                                  </p:stCondLst>
                                  <p:childTnLst>
                                    <p:set>
                                      <p:cBhvr>
                                        <p:cTn id="113" dur="1" fill="hold">
                                          <p:stCondLst>
                                            <p:cond delay="0"/>
                                          </p:stCondLst>
                                        </p:cTn>
                                        <p:tgtEl>
                                          <p:spTgt spid="25"/>
                                        </p:tgtEl>
                                        <p:attrNameLst>
                                          <p:attrName>style.visibility</p:attrName>
                                        </p:attrNameLst>
                                      </p:cBhvr>
                                      <p:to>
                                        <p:strVal val="visible"/>
                                      </p:to>
                                    </p:set>
                                    <p:animEffect transition="in" filter="fade">
                                      <p:cBhvr>
                                        <p:cTn id="114" dur="500"/>
                                        <p:tgtEl>
                                          <p:spTgt spid="25"/>
                                        </p:tgtEl>
                                      </p:cBhvr>
                                    </p:animEffect>
                                  </p:childTnLst>
                                </p:cTn>
                              </p:par>
                            </p:childTnLst>
                          </p:cTn>
                        </p:par>
                      </p:childTnLst>
                    </p:cTn>
                  </p:par>
                  <p:par>
                    <p:cTn id="115" fill="hold">
                      <p:stCondLst>
                        <p:cond delay="indefinite"/>
                      </p:stCondLst>
                      <p:childTnLst>
                        <p:par>
                          <p:cTn id="116" fill="hold">
                            <p:stCondLst>
                              <p:cond delay="0"/>
                            </p:stCondLst>
                            <p:childTnLst>
                              <p:par>
                                <p:cTn id="117" presetID="10" presetClass="entr" presetSubtype="0" fill="hold" grpId="0" nodeType="clickEffect">
                                  <p:stCondLst>
                                    <p:cond delay="0"/>
                                  </p:stCondLst>
                                  <p:childTnLst>
                                    <p:set>
                                      <p:cBhvr>
                                        <p:cTn id="118" dur="1" fill="hold">
                                          <p:stCondLst>
                                            <p:cond delay="0"/>
                                          </p:stCondLst>
                                        </p:cTn>
                                        <p:tgtEl>
                                          <p:spTgt spid="28"/>
                                        </p:tgtEl>
                                        <p:attrNameLst>
                                          <p:attrName>style.visibility</p:attrName>
                                        </p:attrNameLst>
                                      </p:cBhvr>
                                      <p:to>
                                        <p:strVal val="visible"/>
                                      </p:to>
                                    </p:set>
                                    <p:animEffect transition="in" filter="fade">
                                      <p:cBhvr>
                                        <p:cTn id="119" dur="500"/>
                                        <p:tgtEl>
                                          <p:spTgt spid="28"/>
                                        </p:tgtEl>
                                      </p:cBhvr>
                                    </p:animEffect>
                                  </p:childTnLst>
                                </p:cTn>
                              </p:par>
                              <p:par>
                                <p:cTn id="120" presetID="10" presetClass="entr" presetSubtype="0" fill="hold" nodeType="withEffect">
                                  <p:stCondLst>
                                    <p:cond delay="0"/>
                                  </p:stCondLst>
                                  <p:childTnLst>
                                    <p:set>
                                      <p:cBhvr>
                                        <p:cTn id="121" dur="1" fill="hold">
                                          <p:stCondLst>
                                            <p:cond delay="0"/>
                                          </p:stCondLst>
                                        </p:cTn>
                                        <p:tgtEl>
                                          <p:spTgt spid="29"/>
                                        </p:tgtEl>
                                        <p:attrNameLst>
                                          <p:attrName>style.visibility</p:attrName>
                                        </p:attrNameLst>
                                      </p:cBhvr>
                                      <p:to>
                                        <p:strVal val="visible"/>
                                      </p:to>
                                    </p:set>
                                    <p:animEffect transition="in" filter="fade">
                                      <p:cBhvr>
                                        <p:cTn id="122" dur="500"/>
                                        <p:tgtEl>
                                          <p:spTgt spid="29"/>
                                        </p:tgtEl>
                                      </p:cBhvr>
                                    </p:animEffect>
                                  </p:childTnLst>
                                </p:cTn>
                              </p:par>
                            </p:childTnLst>
                          </p:cTn>
                        </p:par>
                      </p:childTnLst>
                    </p:cTn>
                  </p:par>
                  <p:par>
                    <p:cTn id="123" fill="hold">
                      <p:stCondLst>
                        <p:cond delay="indefinite"/>
                      </p:stCondLst>
                      <p:childTnLst>
                        <p:par>
                          <p:cTn id="124" fill="hold">
                            <p:stCondLst>
                              <p:cond delay="0"/>
                            </p:stCondLst>
                            <p:childTnLst>
                              <p:par>
                                <p:cTn id="125" presetID="10" presetClass="entr" presetSubtype="0" fill="hold" grpId="0" nodeType="clickEffect">
                                  <p:stCondLst>
                                    <p:cond delay="0"/>
                                  </p:stCondLst>
                                  <p:childTnLst>
                                    <p:set>
                                      <p:cBhvr>
                                        <p:cTn id="126" dur="1" fill="hold">
                                          <p:stCondLst>
                                            <p:cond delay="0"/>
                                          </p:stCondLst>
                                        </p:cTn>
                                        <p:tgtEl>
                                          <p:spTgt spid="30"/>
                                        </p:tgtEl>
                                        <p:attrNameLst>
                                          <p:attrName>style.visibility</p:attrName>
                                        </p:attrNameLst>
                                      </p:cBhvr>
                                      <p:to>
                                        <p:strVal val="visible"/>
                                      </p:to>
                                    </p:set>
                                    <p:animEffect transition="in" filter="fade">
                                      <p:cBhvr>
                                        <p:cTn id="127" dur="500"/>
                                        <p:tgtEl>
                                          <p:spTgt spid="30"/>
                                        </p:tgtEl>
                                      </p:cBhvr>
                                    </p:animEffect>
                                  </p:childTnLst>
                                </p:cTn>
                              </p:par>
                              <p:par>
                                <p:cTn id="128" presetID="10" presetClass="entr" presetSubtype="0" fill="hold" nodeType="withEffect">
                                  <p:stCondLst>
                                    <p:cond delay="0"/>
                                  </p:stCondLst>
                                  <p:childTnLst>
                                    <p:set>
                                      <p:cBhvr>
                                        <p:cTn id="129" dur="1" fill="hold">
                                          <p:stCondLst>
                                            <p:cond delay="0"/>
                                          </p:stCondLst>
                                        </p:cTn>
                                        <p:tgtEl>
                                          <p:spTgt spid="31"/>
                                        </p:tgtEl>
                                        <p:attrNameLst>
                                          <p:attrName>style.visibility</p:attrName>
                                        </p:attrNameLst>
                                      </p:cBhvr>
                                      <p:to>
                                        <p:strVal val="visible"/>
                                      </p:to>
                                    </p:set>
                                    <p:animEffect transition="in" filter="fade">
                                      <p:cBhvr>
                                        <p:cTn id="130" dur="500"/>
                                        <p:tgtEl>
                                          <p:spTgt spid="31"/>
                                        </p:tgtEl>
                                      </p:cBhvr>
                                    </p:animEffect>
                                  </p:childTnLst>
                                </p:cTn>
                              </p:par>
                            </p:childTnLst>
                          </p:cTn>
                        </p:par>
                      </p:childTnLst>
                    </p:cTn>
                  </p:par>
                  <p:par>
                    <p:cTn id="131" fill="hold">
                      <p:stCondLst>
                        <p:cond delay="indefinite"/>
                      </p:stCondLst>
                      <p:childTnLst>
                        <p:par>
                          <p:cTn id="132" fill="hold">
                            <p:stCondLst>
                              <p:cond delay="0"/>
                            </p:stCondLst>
                            <p:childTnLst>
                              <p:par>
                                <p:cTn id="133" presetID="10" presetClass="entr" presetSubtype="0" fill="hold" grpId="0" nodeType="clickEffect">
                                  <p:stCondLst>
                                    <p:cond delay="0"/>
                                  </p:stCondLst>
                                  <p:childTnLst>
                                    <p:set>
                                      <p:cBhvr>
                                        <p:cTn id="134" dur="1" fill="hold">
                                          <p:stCondLst>
                                            <p:cond delay="0"/>
                                          </p:stCondLst>
                                        </p:cTn>
                                        <p:tgtEl>
                                          <p:spTgt spid="32"/>
                                        </p:tgtEl>
                                        <p:attrNameLst>
                                          <p:attrName>style.visibility</p:attrName>
                                        </p:attrNameLst>
                                      </p:cBhvr>
                                      <p:to>
                                        <p:strVal val="visible"/>
                                      </p:to>
                                    </p:set>
                                    <p:animEffect transition="in" filter="fade">
                                      <p:cBhvr>
                                        <p:cTn id="135" dur="500"/>
                                        <p:tgtEl>
                                          <p:spTgt spid="32"/>
                                        </p:tgtEl>
                                      </p:cBhvr>
                                    </p:animEffect>
                                  </p:childTnLst>
                                </p:cTn>
                              </p:par>
                              <p:par>
                                <p:cTn id="136" presetID="10" presetClass="entr" presetSubtype="0" fill="hold" nodeType="withEffect">
                                  <p:stCondLst>
                                    <p:cond delay="0"/>
                                  </p:stCondLst>
                                  <p:childTnLst>
                                    <p:set>
                                      <p:cBhvr>
                                        <p:cTn id="137" dur="1" fill="hold">
                                          <p:stCondLst>
                                            <p:cond delay="0"/>
                                          </p:stCondLst>
                                        </p:cTn>
                                        <p:tgtEl>
                                          <p:spTgt spid="33"/>
                                        </p:tgtEl>
                                        <p:attrNameLst>
                                          <p:attrName>style.visibility</p:attrName>
                                        </p:attrNameLst>
                                      </p:cBhvr>
                                      <p:to>
                                        <p:strVal val="visible"/>
                                      </p:to>
                                    </p:set>
                                    <p:animEffect transition="in" filter="fade">
                                      <p:cBhvr>
                                        <p:cTn id="138" dur="500"/>
                                        <p:tgtEl>
                                          <p:spTgt spid="33"/>
                                        </p:tgtEl>
                                      </p:cBhvr>
                                    </p:animEffect>
                                  </p:childTnLst>
                                </p:cTn>
                              </p:par>
                            </p:childTnLst>
                          </p:cTn>
                        </p:par>
                      </p:childTnLst>
                    </p:cTn>
                  </p:par>
                  <p:par>
                    <p:cTn id="139" fill="hold">
                      <p:stCondLst>
                        <p:cond delay="indefinite"/>
                      </p:stCondLst>
                      <p:childTnLst>
                        <p:par>
                          <p:cTn id="140" fill="hold">
                            <p:stCondLst>
                              <p:cond delay="0"/>
                            </p:stCondLst>
                            <p:childTnLst>
                              <p:par>
                                <p:cTn id="141" presetID="10" presetClass="entr" presetSubtype="0" fill="hold" grpId="0" nodeType="clickEffect">
                                  <p:stCondLst>
                                    <p:cond delay="0"/>
                                  </p:stCondLst>
                                  <p:childTnLst>
                                    <p:set>
                                      <p:cBhvr>
                                        <p:cTn id="142" dur="1" fill="hold">
                                          <p:stCondLst>
                                            <p:cond delay="0"/>
                                          </p:stCondLst>
                                        </p:cTn>
                                        <p:tgtEl>
                                          <p:spTgt spid="34"/>
                                        </p:tgtEl>
                                        <p:attrNameLst>
                                          <p:attrName>style.visibility</p:attrName>
                                        </p:attrNameLst>
                                      </p:cBhvr>
                                      <p:to>
                                        <p:strVal val="visible"/>
                                      </p:to>
                                    </p:set>
                                    <p:animEffect transition="in" filter="fade">
                                      <p:cBhvr>
                                        <p:cTn id="143" dur="500"/>
                                        <p:tgtEl>
                                          <p:spTgt spid="34"/>
                                        </p:tgtEl>
                                      </p:cBhvr>
                                    </p:animEffect>
                                  </p:childTnLst>
                                </p:cTn>
                              </p:par>
                              <p:par>
                                <p:cTn id="144" presetID="10" presetClass="entr" presetSubtype="0" fill="hold" nodeType="withEffect">
                                  <p:stCondLst>
                                    <p:cond delay="0"/>
                                  </p:stCondLst>
                                  <p:childTnLst>
                                    <p:set>
                                      <p:cBhvr>
                                        <p:cTn id="145" dur="1" fill="hold">
                                          <p:stCondLst>
                                            <p:cond delay="0"/>
                                          </p:stCondLst>
                                        </p:cTn>
                                        <p:tgtEl>
                                          <p:spTgt spid="27"/>
                                        </p:tgtEl>
                                        <p:attrNameLst>
                                          <p:attrName>style.visibility</p:attrName>
                                        </p:attrNameLst>
                                      </p:cBhvr>
                                      <p:to>
                                        <p:strVal val="visible"/>
                                      </p:to>
                                    </p:set>
                                    <p:animEffect transition="in" filter="fade">
                                      <p:cBhvr>
                                        <p:cTn id="146"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147" fill="hold" display="0">
                  <p:stCondLst>
                    <p:cond delay="indefinite"/>
                  </p:stCondLst>
                  <p:endCondLst>
                    <p:cond evt="onStopAudio" delay="0">
                      <p:tgtEl>
                        <p:sldTgt/>
                      </p:tgtEl>
                    </p:cond>
                  </p:endCondLst>
                </p:cTn>
                <p:tgtEl>
                  <p:spTgt spid="3"/>
                </p:tgtEl>
              </p:cMediaNode>
            </p:audio>
          </p:childTnLst>
        </p:cTn>
      </p:par>
    </p:tnLst>
    <p:bldLst>
      <p:bldP spid="37" grpId="0" animBg="1" autoUpdateAnimBg="0"/>
      <p:bldP spid="38" grpId="0" autoUpdateAnimBg="0"/>
      <p:bldP spid="39" grpId="0" animBg="1" autoUpdateAnimBg="0"/>
      <p:bldP spid="40" grpId="0" autoUpdateAnimBg="0"/>
      <p:bldP spid="41" grpId="0" animBg="1" autoUpdateAnimBg="0"/>
      <p:bldP spid="42" grpId="0" autoUpdateAnimBg="0"/>
      <p:bldP spid="43" grpId="0" animBg="1" autoUpdateAnimBg="0"/>
      <p:bldP spid="44" grpId="0" autoUpdateAnimBg="0"/>
      <p:bldP spid="9" grpId="0" animBg="1" autoUpdateAnimBg="0"/>
      <p:bldP spid="13" grpId="0" animBg="1" autoUpdateAnimBg="0"/>
      <p:bldP spid="14" grpId="0" animBg="1" autoUpdateAnimBg="0"/>
      <p:bldP spid="15" grpId="0" animBg="1" autoUpdateAnimBg="0"/>
      <p:bldP spid="16" grpId="0" animBg="1" autoUpdateAnimBg="0"/>
      <p:bldP spid="20" grpId="0" autoUpdateAnimBg="0"/>
      <p:bldP spid="21" grpId="0" autoUpdateAnimBg="0"/>
      <p:bldP spid="22" grpId="0" autoUpdateAnimBg="0"/>
      <p:bldP spid="23" grpId="0" animBg="1" autoUpdateAnimBg="0"/>
      <p:bldP spid="28" grpId="0" animBg="1" autoUpdateAnimBg="0"/>
      <p:bldP spid="30" grpId="0" animBg="1" autoUpdateAnimBg="0"/>
      <p:bldP spid="32" grpId="0" animBg="1" autoUpdateAnimBg="0"/>
      <p:bldP spid="34" grpId="0" animBg="1" autoUpdateAnimBg="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FEE86B-AD91-8CA6-0705-1F3C77C707CE}"/>
            </a:ext>
          </a:extLst>
        </p:cNvPr>
        <p:cNvGrpSpPr/>
        <p:nvPr/>
      </p:nvGrpSpPr>
      <p:grpSpPr>
        <a:xfrm>
          <a:off x="0" y="0"/>
          <a:ext cx="0" cy="0"/>
          <a:chOff x="0" y="0"/>
          <a:chExt cx="0" cy="0"/>
        </a:xfrm>
      </p:grpSpPr>
      <p:cxnSp>
        <p:nvCxnSpPr>
          <p:cNvPr id="25" name="Straight Arrow Connector 24">
            <a:extLst>
              <a:ext uri="{FF2B5EF4-FFF2-40B4-BE49-F238E27FC236}">
                <a16:creationId xmlns:a16="http://schemas.microsoft.com/office/drawing/2014/main" id="{9B027263-0DA4-9C50-0C9D-C9D56B6F7349}"/>
              </a:ext>
            </a:extLst>
          </p:cNvPr>
          <p:cNvCxnSpPr>
            <a:cxnSpLocks/>
            <a:stCxn id="7" idx="3"/>
          </p:cNvCxnSpPr>
          <p:nvPr/>
        </p:nvCxnSpPr>
        <p:spPr>
          <a:xfrm>
            <a:off x="3994151" y="3476625"/>
            <a:ext cx="794902" cy="2663"/>
          </a:xfrm>
          <a:prstGeom prst="straightConnector1">
            <a:avLst/>
          </a:prstGeom>
          <a:ln w="57150">
            <a:solidFill>
              <a:srgbClr val="4F81BD"/>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B74B9C02-508F-90ED-B48F-818586A874B6}"/>
              </a:ext>
            </a:extLst>
          </p:cNvPr>
          <p:cNvCxnSpPr>
            <a:cxnSpLocks/>
          </p:cNvCxnSpPr>
          <p:nvPr/>
        </p:nvCxnSpPr>
        <p:spPr>
          <a:xfrm>
            <a:off x="3982344" y="1621140"/>
            <a:ext cx="806709" cy="0"/>
          </a:xfrm>
          <a:prstGeom prst="straightConnector1">
            <a:avLst/>
          </a:prstGeom>
          <a:ln w="57150">
            <a:solidFill>
              <a:srgbClr val="4F81BD"/>
            </a:solidFill>
            <a:tailEnd type="triangle"/>
          </a:ln>
        </p:spPr>
        <p:style>
          <a:lnRef idx="1">
            <a:schemeClr val="accent1"/>
          </a:lnRef>
          <a:fillRef idx="0">
            <a:schemeClr val="accent1"/>
          </a:fillRef>
          <a:effectRef idx="0">
            <a:schemeClr val="accent1"/>
          </a:effectRef>
          <a:fontRef idx="minor">
            <a:schemeClr val="tx1"/>
          </a:fontRef>
        </p:style>
      </p:cxnSp>
      <p:sp>
        <p:nvSpPr>
          <p:cNvPr id="2" name="TitlePlaceholder">
            <a:extLst>
              <a:ext uri="{FF2B5EF4-FFF2-40B4-BE49-F238E27FC236}">
                <a16:creationId xmlns:a16="http://schemas.microsoft.com/office/drawing/2014/main" id="{37663477-AF91-DC18-FA50-58E67E484F47}"/>
              </a:ext>
            </a:extLst>
          </p:cNvPr>
          <p:cNvSpPr>
            <a:spLocks noGrp="1"/>
          </p:cNvSpPr>
          <p:nvPr>
            <p:ph type="title"/>
          </p:nvPr>
        </p:nvSpPr>
        <p:spPr/>
        <p:txBody>
          <a:bodyPr>
            <a:normAutofit fontScale="90000"/>
          </a:bodyPr>
          <a:lstStyle/>
          <a:p>
            <a:r>
              <a:rPr lang="en-US" dirty="0"/>
              <a:t>Publish</a:t>
            </a:r>
          </a:p>
        </p:txBody>
      </p:sp>
      <p:sp>
        <p:nvSpPr>
          <p:cNvPr id="4" name="SectionNameTextPlaceholder">
            <a:extLst>
              <a:ext uri="{FF2B5EF4-FFF2-40B4-BE49-F238E27FC236}">
                <a16:creationId xmlns:a16="http://schemas.microsoft.com/office/drawing/2014/main" id="{E5C70E86-F49F-0848-8EEB-94E757776E32}"/>
              </a:ext>
            </a:extLst>
          </p:cNvPr>
          <p:cNvSpPr>
            <a:spLocks noGrp="1"/>
          </p:cNvSpPr>
          <p:nvPr>
            <p:ph type="body" sz="quarter" idx="3"/>
          </p:nvPr>
        </p:nvSpPr>
        <p:spPr/>
        <p:txBody>
          <a:bodyPr/>
          <a:lstStyle/>
          <a:p>
            <a:r>
              <a:rPr lang="en-US" dirty="0"/>
              <a:t>Publish</a:t>
            </a:r>
          </a:p>
        </p:txBody>
      </p:sp>
      <p:sp>
        <p:nvSpPr>
          <p:cNvPr id="5" name="ReferenceTextPlaceholder">
            <a:extLst>
              <a:ext uri="{FF2B5EF4-FFF2-40B4-BE49-F238E27FC236}">
                <a16:creationId xmlns:a16="http://schemas.microsoft.com/office/drawing/2014/main" id="{68A69A30-1E20-D381-7465-537556CF2F9A}"/>
              </a:ext>
            </a:extLst>
          </p:cNvPr>
          <p:cNvSpPr>
            <a:spLocks noGrp="1"/>
          </p:cNvSpPr>
          <p:nvPr>
            <p:ph type="body" sz="quarter" idx="20"/>
          </p:nvPr>
        </p:nvSpPr>
        <p:spPr/>
        <p:txBody>
          <a:bodyPr/>
          <a:lstStyle/>
          <a:p>
            <a:endParaRPr lang="en-US" dirty="0"/>
          </a:p>
        </p:txBody>
      </p:sp>
      <p:sp>
        <p:nvSpPr>
          <p:cNvPr id="3" name="rectHighlight">
            <a:extLst>
              <a:ext uri="{FF2B5EF4-FFF2-40B4-BE49-F238E27FC236}">
                <a16:creationId xmlns:a16="http://schemas.microsoft.com/office/drawing/2014/main" id="{493C1A01-192F-1CBB-E178-878AF8E160A7}"/>
              </a:ext>
            </a:extLst>
          </p:cNvPr>
          <p:cNvSpPr/>
          <p:nvPr/>
        </p:nvSpPr>
        <p:spPr>
          <a:xfrm>
            <a:off x="6130067" y="27881"/>
            <a:ext cx="1965252" cy="588427"/>
          </a:xfrm>
          <a:prstGeom prst="roundRect">
            <a:avLst/>
          </a:prstGeom>
          <a:noFill/>
          <a:ln w="5715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solidFill>
            </a:endParaRPr>
          </a:p>
        </p:txBody>
      </p:sp>
      <p:sp>
        <p:nvSpPr>
          <p:cNvPr id="41" name="Freeform: Shape 40">
            <a:extLst>
              <a:ext uri="{FF2B5EF4-FFF2-40B4-BE49-F238E27FC236}">
                <a16:creationId xmlns:a16="http://schemas.microsoft.com/office/drawing/2014/main" id="{551E73E5-EA3E-CA53-FB39-34C06AC0AE1E}"/>
              </a:ext>
            </a:extLst>
          </p:cNvPr>
          <p:cNvSpPr/>
          <p:nvPr/>
        </p:nvSpPr>
        <p:spPr>
          <a:xfrm>
            <a:off x="7410679" y="880522"/>
            <a:ext cx="4660670" cy="1433802"/>
          </a:xfrm>
          <a:custGeom>
            <a:avLst/>
            <a:gdLst>
              <a:gd name="connsiteX0" fmla="*/ 238972 w 1433802"/>
              <a:gd name="connsiteY0" fmla="*/ 0 h 4660670"/>
              <a:gd name="connsiteX1" fmla="*/ 1194830 w 1433802"/>
              <a:gd name="connsiteY1" fmla="*/ 0 h 4660670"/>
              <a:gd name="connsiteX2" fmla="*/ 1433802 w 1433802"/>
              <a:gd name="connsiteY2" fmla="*/ 238972 h 4660670"/>
              <a:gd name="connsiteX3" fmla="*/ 1433802 w 1433802"/>
              <a:gd name="connsiteY3" fmla="*/ 4660670 h 4660670"/>
              <a:gd name="connsiteX4" fmla="*/ 1433802 w 1433802"/>
              <a:gd name="connsiteY4" fmla="*/ 4660670 h 4660670"/>
              <a:gd name="connsiteX5" fmla="*/ 0 w 1433802"/>
              <a:gd name="connsiteY5" fmla="*/ 4660670 h 4660670"/>
              <a:gd name="connsiteX6" fmla="*/ 0 w 1433802"/>
              <a:gd name="connsiteY6" fmla="*/ 4660670 h 4660670"/>
              <a:gd name="connsiteX7" fmla="*/ 0 w 1433802"/>
              <a:gd name="connsiteY7" fmla="*/ 238972 h 4660670"/>
              <a:gd name="connsiteX8" fmla="*/ 238972 w 1433802"/>
              <a:gd name="connsiteY8" fmla="*/ 0 h 4660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3802" h="4660670">
                <a:moveTo>
                  <a:pt x="1433802" y="776795"/>
                </a:moveTo>
                <a:lnTo>
                  <a:pt x="1433802" y="3883875"/>
                </a:lnTo>
                <a:cubicBezTo>
                  <a:pt x="1433802" y="4312889"/>
                  <a:pt x="1400887" y="4660670"/>
                  <a:pt x="1360285" y="4660670"/>
                </a:cubicBezTo>
                <a:lnTo>
                  <a:pt x="0" y="4660670"/>
                </a:lnTo>
                <a:lnTo>
                  <a:pt x="0" y="4660670"/>
                </a:lnTo>
                <a:lnTo>
                  <a:pt x="0" y="0"/>
                </a:lnTo>
                <a:lnTo>
                  <a:pt x="0" y="0"/>
                </a:lnTo>
                <a:lnTo>
                  <a:pt x="1360285" y="0"/>
                </a:lnTo>
                <a:cubicBezTo>
                  <a:pt x="1400887" y="0"/>
                  <a:pt x="1433802" y="347781"/>
                  <a:pt x="1433802" y="776795"/>
                </a:cubicBez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83820" tIns="111902" rIns="153812" bIns="111902" numCol="1" spcCol="1270" anchor="ctr" anchorCtr="0">
            <a:noAutofit/>
          </a:bodyPr>
          <a:lstStyle/>
          <a:p>
            <a:pPr marL="228600" lvl="1" indent="-228600" algn="l" defTabSz="977900">
              <a:lnSpc>
                <a:spcPct val="90000"/>
              </a:lnSpc>
              <a:spcBef>
                <a:spcPct val="0"/>
              </a:spcBef>
              <a:spcAft>
                <a:spcPct val="15000"/>
              </a:spcAft>
              <a:buChar char="•"/>
            </a:pPr>
            <a:r>
              <a:rPr lang="en-US" sz="2200" kern="1200" dirty="0"/>
              <a:t>WordPress, Umbraco, Orchard, …</a:t>
            </a:r>
          </a:p>
          <a:p>
            <a:pPr marL="228600" lvl="1" indent="-228600" algn="l" defTabSz="977900">
              <a:lnSpc>
                <a:spcPct val="90000"/>
              </a:lnSpc>
              <a:spcBef>
                <a:spcPct val="0"/>
              </a:spcBef>
              <a:spcAft>
                <a:spcPct val="15000"/>
              </a:spcAft>
              <a:buChar char="•"/>
            </a:pPr>
            <a:r>
              <a:rPr lang="en-US" sz="2200" kern="1200" dirty="0"/>
              <a:t>Your Custom Website</a:t>
            </a:r>
          </a:p>
          <a:p>
            <a:pPr marL="228600" lvl="1" indent="-228600" algn="l" defTabSz="977900">
              <a:lnSpc>
                <a:spcPct val="90000"/>
              </a:lnSpc>
              <a:spcBef>
                <a:spcPct val="0"/>
              </a:spcBef>
              <a:spcAft>
                <a:spcPct val="15000"/>
              </a:spcAft>
              <a:buChar char="•"/>
            </a:pPr>
            <a:r>
              <a:rPr lang="en-US" sz="2200" dirty="0"/>
              <a:t>GitHub Pages (Stand-alone Website)</a:t>
            </a:r>
            <a:endParaRPr lang="en-US" sz="2200" kern="1200" dirty="0"/>
          </a:p>
        </p:txBody>
      </p:sp>
      <p:sp>
        <p:nvSpPr>
          <p:cNvPr id="42" name="Freeform: Shape 41">
            <a:extLst>
              <a:ext uri="{FF2B5EF4-FFF2-40B4-BE49-F238E27FC236}">
                <a16:creationId xmlns:a16="http://schemas.microsoft.com/office/drawing/2014/main" id="{1157424C-C67F-9E40-CFFB-C3EE1AB48733}"/>
              </a:ext>
            </a:extLst>
          </p:cNvPr>
          <p:cNvSpPr/>
          <p:nvPr/>
        </p:nvSpPr>
        <p:spPr>
          <a:xfrm>
            <a:off x="4789053" y="701296"/>
            <a:ext cx="2621626" cy="1792252"/>
          </a:xfrm>
          <a:custGeom>
            <a:avLst/>
            <a:gdLst>
              <a:gd name="connsiteX0" fmla="*/ 0 w 2621626"/>
              <a:gd name="connsiteY0" fmla="*/ 298715 h 1792252"/>
              <a:gd name="connsiteX1" fmla="*/ 298715 w 2621626"/>
              <a:gd name="connsiteY1" fmla="*/ 0 h 1792252"/>
              <a:gd name="connsiteX2" fmla="*/ 2322911 w 2621626"/>
              <a:gd name="connsiteY2" fmla="*/ 0 h 1792252"/>
              <a:gd name="connsiteX3" fmla="*/ 2621626 w 2621626"/>
              <a:gd name="connsiteY3" fmla="*/ 298715 h 1792252"/>
              <a:gd name="connsiteX4" fmla="*/ 2621626 w 2621626"/>
              <a:gd name="connsiteY4" fmla="*/ 1493537 h 1792252"/>
              <a:gd name="connsiteX5" fmla="*/ 2322911 w 2621626"/>
              <a:gd name="connsiteY5" fmla="*/ 1792252 h 1792252"/>
              <a:gd name="connsiteX6" fmla="*/ 298715 w 2621626"/>
              <a:gd name="connsiteY6" fmla="*/ 1792252 h 1792252"/>
              <a:gd name="connsiteX7" fmla="*/ 0 w 2621626"/>
              <a:gd name="connsiteY7" fmla="*/ 1493537 h 1792252"/>
              <a:gd name="connsiteX8" fmla="*/ 0 w 2621626"/>
              <a:gd name="connsiteY8" fmla="*/ 298715 h 1792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21626" h="1792252">
                <a:moveTo>
                  <a:pt x="0" y="298715"/>
                </a:moveTo>
                <a:cubicBezTo>
                  <a:pt x="0" y="133739"/>
                  <a:pt x="133739" y="0"/>
                  <a:pt x="298715" y="0"/>
                </a:cubicBezTo>
                <a:lnTo>
                  <a:pt x="2322911" y="0"/>
                </a:lnTo>
                <a:cubicBezTo>
                  <a:pt x="2487887" y="0"/>
                  <a:pt x="2621626" y="133739"/>
                  <a:pt x="2621626" y="298715"/>
                </a:cubicBezTo>
                <a:lnTo>
                  <a:pt x="2621626" y="1493537"/>
                </a:lnTo>
                <a:cubicBezTo>
                  <a:pt x="2621626" y="1658513"/>
                  <a:pt x="2487887" y="1792252"/>
                  <a:pt x="2322911" y="1792252"/>
                </a:cubicBezTo>
                <a:lnTo>
                  <a:pt x="298715" y="1792252"/>
                </a:lnTo>
                <a:cubicBezTo>
                  <a:pt x="133739" y="1792252"/>
                  <a:pt x="0" y="1658513"/>
                  <a:pt x="0" y="1493537"/>
                </a:cubicBezTo>
                <a:lnTo>
                  <a:pt x="0" y="298715"/>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66561" tIns="177026" rIns="266561" bIns="177026" numCol="1" spcCol="1270" anchor="ctr" anchorCtr="0">
            <a:noAutofit/>
          </a:bodyPr>
          <a:lstStyle/>
          <a:p>
            <a:pPr marL="0" lvl="0" indent="0" algn="ctr" defTabSz="2089150">
              <a:lnSpc>
                <a:spcPct val="90000"/>
              </a:lnSpc>
              <a:spcBef>
                <a:spcPct val="0"/>
              </a:spcBef>
              <a:spcAft>
                <a:spcPct val="35000"/>
              </a:spcAft>
              <a:buNone/>
            </a:pPr>
            <a:r>
              <a:rPr lang="en-US" sz="4800" kern="1200" dirty="0"/>
              <a:t>Your </a:t>
            </a:r>
            <a:r>
              <a:rPr lang="en-US" sz="4400" kern="1200" dirty="0"/>
              <a:t>Website</a:t>
            </a:r>
            <a:endParaRPr lang="en-US" sz="4800" kern="1200" dirty="0"/>
          </a:p>
        </p:txBody>
      </p:sp>
      <p:sp>
        <p:nvSpPr>
          <p:cNvPr id="43" name="Freeform: Shape 42">
            <a:extLst>
              <a:ext uri="{FF2B5EF4-FFF2-40B4-BE49-F238E27FC236}">
                <a16:creationId xmlns:a16="http://schemas.microsoft.com/office/drawing/2014/main" id="{07E3E964-5268-45BD-092C-69914AE4091D}"/>
              </a:ext>
            </a:extLst>
          </p:cNvPr>
          <p:cNvSpPr/>
          <p:nvPr/>
        </p:nvSpPr>
        <p:spPr>
          <a:xfrm>
            <a:off x="7410679" y="2762387"/>
            <a:ext cx="4660670" cy="1433802"/>
          </a:xfrm>
          <a:custGeom>
            <a:avLst/>
            <a:gdLst>
              <a:gd name="connsiteX0" fmla="*/ 238972 w 1433802"/>
              <a:gd name="connsiteY0" fmla="*/ 0 h 4660670"/>
              <a:gd name="connsiteX1" fmla="*/ 1194830 w 1433802"/>
              <a:gd name="connsiteY1" fmla="*/ 0 h 4660670"/>
              <a:gd name="connsiteX2" fmla="*/ 1433802 w 1433802"/>
              <a:gd name="connsiteY2" fmla="*/ 238972 h 4660670"/>
              <a:gd name="connsiteX3" fmla="*/ 1433802 w 1433802"/>
              <a:gd name="connsiteY3" fmla="*/ 4660670 h 4660670"/>
              <a:gd name="connsiteX4" fmla="*/ 1433802 w 1433802"/>
              <a:gd name="connsiteY4" fmla="*/ 4660670 h 4660670"/>
              <a:gd name="connsiteX5" fmla="*/ 0 w 1433802"/>
              <a:gd name="connsiteY5" fmla="*/ 4660670 h 4660670"/>
              <a:gd name="connsiteX6" fmla="*/ 0 w 1433802"/>
              <a:gd name="connsiteY6" fmla="*/ 4660670 h 4660670"/>
              <a:gd name="connsiteX7" fmla="*/ 0 w 1433802"/>
              <a:gd name="connsiteY7" fmla="*/ 238972 h 4660670"/>
              <a:gd name="connsiteX8" fmla="*/ 238972 w 1433802"/>
              <a:gd name="connsiteY8" fmla="*/ 0 h 4660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3802" h="4660670">
                <a:moveTo>
                  <a:pt x="1433802" y="776795"/>
                </a:moveTo>
                <a:lnTo>
                  <a:pt x="1433802" y="3883875"/>
                </a:lnTo>
                <a:cubicBezTo>
                  <a:pt x="1433802" y="4312889"/>
                  <a:pt x="1400887" y="4660670"/>
                  <a:pt x="1360285" y="4660670"/>
                </a:cubicBezTo>
                <a:lnTo>
                  <a:pt x="0" y="4660670"/>
                </a:lnTo>
                <a:lnTo>
                  <a:pt x="0" y="4660670"/>
                </a:lnTo>
                <a:lnTo>
                  <a:pt x="0" y="0"/>
                </a:lnTo>
                <a:lnTo>
                  <a:pt x="0" y="0"/>
                </a:lnTo>
                <a:lnTo>
                  <a:pt x="1360285" y="0"/>
                </a:lnTo>
                <a:cubicBezTo>
                  <a:pt x="1400887" y="0"/>
                  <a:pt x="1433802" y="347781"/>
                  <a:pt x="1433802" y="776795"/>
                </a:cubicBez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83820" tIns="111902" rIns="153812" bIns="111902" numCol="1" spcCol="1270" anchor="ctr" anchorCtr="0">
            <a:noAutofit/>
          </a:bodyPr>
          <a:lstStyle/>
          <a:p>
            <a:pPr marL="228600" lvl="1" indent="-228600" defTabSz="977900">
              <a:lnSpc>
                <a:spcPct val="90000"/>
              </a:lnSpc>
              <a:spcBef>
                <a:spcPct val="0"/>
              </a:spcBef>
              <a:spcAft>
                <a:spcPct val="15000"/>
              </a:spcAft>
              <a:buFontTx/>
              <a:buChar char="•"/>
            </a:pPr>
            <a:r>
              <a:rPr lang="en-US" sz="2200" kern="1200" dirty="0"/>
              <a:t>Learning Management System (LMS)</a:t>
            </a:r>
          </a:p>
          <a:p>
            <a:pPr marL="228600" lvl="1" indent="-228600" algn="l" defTabSz="977900">
              <a:lnSpc>
                <a:spcPct val="90000"/>
              </a:lnSpc>
              <a:spcBef>
                <a:spcPct val="0"/>
              </a:spcBef>
              <a:spcAft>
                <a:spcPct val="15000"/>
              </a:spcAft>
              <a:buChar char="•"/>
            </a:pPr>
            <a:r>
              <a:rPr lang="en-US" sz="2200" kern="1200" dirty="0"/>
              <a:t>Content Management System (CMS)</a:t>
            </a:r>
          </a:p>
          <a:p>
            <a:pPr marL="228600" lvl="1" indent="-228600" algn="l" defTabSz="977900">
              <a:lnSpc>
                <a:spcPct val="90000"/>
              </a:lnSpc>
              <a:spcBef>
                <a:spcPct val="0"/>
              </a:spcBef>
              <a:spcAft>
                <a:spcPct val="15000"/>
              </a:spcAft>
              <a:buChar char="•"/>
            </a:pPr>
            <a:r>
              <a:rPr lang="en-US" sz="2200" kern="1200" dirty="0"/>
              <a:t>Wiki</a:t>
            </a:r>
          </a:p>
        </p:txBody>
      </p:sp>
      <p:sp>
        <p:nvSpPr>
          <p:cNvPr id="44" name="Freeform: Shape 43">
            <a:extLst>
              <a:ext uri="{FF2B5EF4-FFF2-40B4-BE49-F238E27FC236}">
                <a16:creationId xmlns:a16="http://schemas.microsoft.com/office/drawing/2014/main" id="{4FF22F35-F221-5965-9BDC-42912C400CE1}"/>
              </a:ext>
            </a:extLst>
          </p:cNvPr>
          <p:cNvSpPr/>
          <p:nvPr/>
        </p:nvSpPr>
        <p:spPr>
          <a:xfrm>
            <a:off x="4789053" y="2583162"/>
            <a:ext cx="2621626" cy="1792252"/>
          </a:xfrm>
          <a:custGeom>
            <a:avLst/>
            <a:gdLst>
              <a:gd name="connsiteX0" fmla="*/ 0 w 2621626"/>
              <a:gd name="connsiteY0" fmla="*/ 298715 h 1792252"/>
              <a:gd name="connsiteX1" fmla="*/ 298715 w 2621626"/>
              <a:gd name="connsiteY1" fmla="*/ 0 h 1792252"/>
              <a:gd name="connsiteX2" fmla="*/ 2322911 w 2621626"/>
              <a:gd name="connsiteY2" fmla="*/ 0 h 1792252"/>
              <a:gd name="connsiteX3" fmla="*/ 2621626 w 2621626"/>
              <a:gd name="connsiteY3" fmla="*/ 298715 h 1792252"/>
              <a:gd name="connsiteX4" fmla="*/ 2621626 w 2621626"/>
              <a:gd name="connsiteY4" fmla="*/ 1493537 h 1792252"/>
              <a:gd name="connsiteX5" fmla="*/ 2322911 w 2621626"/>
              <a:gd name="connsiteY5" fmla="*/ 1792252 h 1792252"/>
              <a:gd name="connsiteX6" fmla="*/ 298715 w 2621626"/>
              <a:gd name="connsiteY6" fmla="*/ 1792252 h 1792252"/>
              <a:gd name="connsiteX7" fmla="*/ 0 w 2621626"/>
              <a:gd name="connsiteY7" fmla="*/ 1493537 h 1792252"/>
              <a:gd name="connsiteX8" fmla="*/ 0 w 2621626"/>
              <a:gd name="connsiteY8" fmla="*/ 298715 h 1792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21626" h="1792252">
                <a:moveTo>
                  <a:pt x="0" y="298715"/>
                </a:moveTo>
                <a:cubicBezTo>
                  <a:pt x="0" y="133739"/>
                  <a:pt x="133739" y="0"/>
                  <a:pt x="298715" y="0"/>
                </a:cubicBezTo>
                <a:lnTo>
                  <a:pt x="2322911" y="0"/>
                </a:lnTo>
                <a:cubicBezTo>
                  <a:pt x="2487887" y="0"/>
                  <a:pt x="2621626" y="133739"/>
                  <a:pt x="2621626" y="298715"/>
                </a:cubicBezTo>
                <a:lnTo>
                  <a:pt x="2621626" y="1493537"/>
                </a:lnTo>
                <a:cubicBezTo>
                  <a:pt x="2621626" y="1658513"/>
                  <a:pt x="2487887" y="1792252"/>
                  <a:pt x="2322911" y="1792252"/>
                </a:cubicBezTo>
                <a:lnTo>
                  <a:pt x="298715" y="1792252"/>
                </a:lnTo>
                <a:cubicBezTo>
                  <a:pt x="133739" y="1792252"/>
                  <a:pt x="0" y="1658513"/>
                  <a:pt x="0" y="1493537"/>
                </a:cubicBezTo>
                <a:lnTo>
                  <a:pt x="0" y="298715"/>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66561" tIns="177026" rIns="266561" bIns="177026" numCol="1" spcCol="1270" anchor="ctr" anchorCtr="0">
            <a:noAutofit/>
          </a:bodyPr>
          <a:lstStyle/>
          <a:p>
            <a:pPr marL="0" lvl="0" indent="0" algn="ctr" defTabSz="2089150">
              <a:lnSpc>
                <a:spcPct val="90000"/>
              </a:lnSpc>
              <a:spcBef>
                <a:spcPct val="0"/>
              </a:spcBef>
              <a:spcAft>
                <a:spcPct val="35000"/>
              </a:spcAft>
              <a:buNone/>
            </a:pPr>
            <a:r>
              <a:rPr lang="en-US" sz="4800" dirty="0"/>
              <a:t>Your</a:t>
            </a:r>
            <a:r>
              <a:rPr lang="en-US" sz="4400" dirty="0"/>
              <a:t> Platform</a:t>
            </a:r>
          </a:p>
        </p:txBody>
      </p:sp>
      <p:sp>
        <p:nvSpPr>
          <p:cNvPr id="45" name="Freeform: Shape 44">
            <a:extLst>
              <a:ext uri="{FF2B5EF4-FFF2-40B4-BE49-F238E27FC236}">
                <a16:creationId xmlns:a16="http://schemas.microsoft.com/office/drawing/2014/main" id="{C115FEE8-E2E3-57E9-37F8-A4DF83D3459D}"/>
              </a:ext>
            </a:extLst>
          </p:cNvPr>
          <p:cNvSpPr/>
          <p:nvPr/>
        </p:nvSpPr>
        <p:spPr>
          <a:xfrm>
            <a:off x="7410679" y="4644252"/>
            <a:ext cx="4660670" cy="1433802"/>
          </a:xfrm>
          <a:custGeom>
            <a:avLst/>
            <a:gdLst>
              <a:gd name="connsiteX0" fmla="*/ 238972 w 1433802"/>
              <a:gd name="connsiteY0" fmla="*/ 0 h 4660670"/>
              <a:gd name="connsiteX1" fmla="*/ 1194830 w 1433802"/>
              <a:gd name="connsiteY1" fmla="*/ 0 h 4660670"/>
              <a:gd name="connsiteX2" fmla="*/ 1433802 w 1433802"/>
              <a:gd name="connsiteY2" fmla="*/ 238972 h 4660670"/>
              <a:gd name="connsiteX3" fmla="*/ 1433802 w 1433802"/>
              <a:gd name="connsiteY3" fmla="*/ 4660670 h 4660670"/>
              <a:gd name="connsiteX4" fmla="*/ 1433802 w 1433802"/>
              <a:gd name="connsiteY4" fmla="*/ 4660670 h 4660670"/>
              <a:gd name="connsiteX5" fmla="*/ 0 w 1433802"/>
              <a:gd name="connsiteY5" fmla="*/ 4660670 h 4660670"/>
              <a:gd name="connsiteX6" fmla="*/ 0 w 1433802"/>
              <a:gd name="connsiteY6" fmla="*/ 4660670 h 4660670"/>
              <a:gd name="connsiteX7" fmla="*/ 0 w 1433802"/>
              <a:gd name="connsiteY7" fmla="*/ 238972 h 4660670"/>
              <a:gd name="connsiteX8" fmla="*/ 238972 w 1433802"/>
              <a:gd name="connsiteY8" fmla="*/ 0 h 4660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3802" h="4660670">
                <a:moveTo>
                  <a:pt x="1433802" y="776795"/>
                </a:moveTo>
                <a:lnTo>
                  <a:pt x="1433802" y="3883875"/>
                </a:lnTo>
                <a:cubicBezTo>
                  <a:pt x="1433802" y="4312889"/>
                  <a:pt x="1400887" y="4660670"/>
                  <a:pt x="1360285" y="4660670"/>
                </a:cubicBezTo>
                <a:lnTo>
                  <a:pt x="0" y="4660670"/>
                </a:lnTo>
                <a:lnTo>
                  <a:pt x="0" y="4660670"/>
                </a:lnTo>
                <a:lnTo>
                  <a:pt x="0" y="0"/>
                </a:lnTo>
                <a:lnTo>
                  <a:pt x="0" y="0"/>
                </a:lnTo>
                <a:lnTo>
                  <a:pt x="1360285" y="0"/>
                </a:lnTo>
                <a:cubicBezTo>
                  <a:pt x="1400887" y="0"/>
                  <a:pt x="1433802" y="347781"/>
                  <a:pt x="1433802" y="776795"/>
                </a:cubicBez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83820" tIns="111902" rIns="153812" bIns="111902" numCol="1" spcCol="1270" anchor="ctr" anchorCtr="0">
            <a:noAutofit/>
          </a:bodyPr>
          <a:lstStyle/>
          <a:p>
            <a:pPr marL="228600" lvl="1" indent="-228600" defTabSz="977900">
              <a:lnSpc>
                <a:spcPct val="90000"/>
              </a:lnSpc>
              <a:spcBef>
                <a:spcPct val="0"/>
              </a:spcBef>
              <a:spcAft>
                <a:spcPct val="15000"/>
              </a:spcAft>
              <a:buChar char="•"/>
            </a:pPr>
            <a:r>
              <a:rPr lang="en-US" sz="2200" dirty="0"/>
              <a:t>Fully Integrated Solution</a:t>
            </a:r>
          </a:p>
          <a:p>
            <a:pPr marL="228600" lvl="1" indent="-228600" defTabSz="977900">
              <a:lnSpc>
                <a:spcPct val="90000"/>
              </a:lnSpc>
              <a:spcBef>
                <a:spcPct val="0"/>
              </a:spcBef>
              <a:spcAft>
                <a:spcPct val="15000"/>
              </a:spcAft>
              <a:buChar char="•"/>
            </a:pPr>
            <a:r>
              <a:rPr lang="en-US" sz="2200" dirty="0"/>
              <a:t>Self Hosted or Managed Hosted</a:t>
            </a:r>
          </a:p>
          <a:p>
            <a:pPr marL="228600" lvl="1" indent="-228600" defTabSz="977900">
              <a:lnSpc>
                <a:spcPct val="90000"/>
              </a:lnSpc>
              <a:spcBef>
                <a:spcPct val="0"/>
              </a:spcBef>
              <a:spcAft>
                <a:spcPct val="15000"/>
              </a:spcAft>
              <a:buChar char="•"/>
            </a:pPr>
            <a:r>
              <a:rPr lang="en-US" sz="2200" dirty="0"/>
              <a:t>Web, Mobile, and/or Desktop</a:t>
            </a:r>
            <a:endParaRPr lang="en-US" sz="2200" kern="1200" dirty="0"/>
          </a:p>
        </p:txBody>
      </p:sp>
      <p:sp>
        <p:nvSpPr>
          <p:cNvPr id="46" name="Freeform: Shape 45">
            <a:extLst>
              <a:ext uri="{FF2B5EF4-FFF2-40B4-BE49-F238E27FC236}">
                <a16:creationId xmlns:a16="http://schemas.microsoft.com/office/drawing/2014/main" id="{2104357B-5EE2-3B26-29FB-3AC232131D55}"/>
              </a:ext>
            </a:extLst>
          </p:cNvPr>
          <p:cNvSpPr/>
          <p:nvPr/>
        </p:nvSpPr>
        <p:spPr>
          <a:xfrm>
            <a:off x="4789053" y="4465027"/>
            <a:ext cx="2621626" cy="1792252"/>
          </a:xfrm>
          <a:custGeom>
            <a:avLst/>
            <a:gdLst>
              <a:gd name="connsiteX0" fmla="*/ 0 w 2621626"/>
              <a:gd name="connsiteY0" fmla="*/ 298715 h 1792252"/>
              <a:gd name="connsiteX1" fmla="*/ 298715 w 2621626"/>
              <a:gd name="connsiteY1" fmla="*/ 0 h 1792252"/>
              <a:gd name="connsiteX2" fmla="*/ 2322911 w 2621626"/>
              <a:gd name="connsiteY2" fmla="*/ 0 h 1792252"/>
              <a:gd name="connsiteX3" fmla="*/ 2621626 w 2621626"/>
              <a:gd name="connsiteY3" fmla="*/ 298715 h 1792252"/>
              <a:gd name="connsiteX4" fmla="*/ 2621626 w 2621626"/>
              <a:gd name="connsiteY4" fmla="*/ 1493537 h 1792252"/>
              <a:gd name="connsiteX5" fmla="*/ 2322911 w 2621626"/>
              <a:gd name="connsiteY5" fmla="*/ 1792252 h 1792252"/>
              <a:gd name="connsiteX6" fmla="*/ 298715 w 2621626"/>
              <a:gd name="connsiteY6" fmla="*/ 1792252 h 1792252"/>
              <a:gd name="connsiteX7" fmla="*/ 0 w 2621626"/>
              <a:gd name="connsiteY7" fmla="*/ 1493537 h 1792252"/>
              <a:gd name="connsiteX8" fmla="*/ 0 w 2621626"/>
              <a:gd name="connsiteY8" fmla="*/ 298715 h 1792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21626" h="1792252">
                <a:moveTo>
                  <a:pt x="0" y="298715"/>
                </a:moveTo>
                <a:cubicBezTo>
                  <a:pt x="0" y="133739"/>
                  <a:pt x="133739" y="0"/>
                  <a:pt x="298715" y="0"/>
                </a:cubicBezTo>
                <a:lnTo>
                  <a:pt x="2322911" y="0"/>
                </a:lnTo>
                <a:cubicBezTo>
                  <a:pt x="2487887" y="0"/>
                  <a:pt x="2621626" y="133739"/>
                  <a:pt x="2621626" y="298715"/>
                </a:cubicBezTo>
                <a:lnTo>
                  <a:pt x="2621626" y="1493537"/>
                </a:lnTo>
                <a:cubicBezTo>
                  <a:pt x="2621626" y="1658513"/>
                  <a:pt x="2487887" y="1792252"/>
                  <a:pt x="2322911" y="1792252"/>
                </a:cubicBezTo>
                <a:lnTo>
                  <a:pt x="298715" y="1792252"/>
                </a:lnTo>
                <a:cubicBezTo>
                  <a:pt x="133739" y="1792252"/>
                  <a:pt x="0" y="1658513"/>
                  <a:pt x="0" y="1493537"/>
                </a:cubicBezTo>
                <a:lnTo>
                  <a:pt x="0" y="298715"/>
                </a:lnTo>
                <a:close/>
              </a:path>
            </a:pathLst>
          </a:custGeom>
          <a:solidFill>
            <a:srgbClr val="8064A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266561" tIns="177026" rIns="266561" bIns="177026" numCol="1" spcCol="1270" anchor="ctr" anchorCtr="0">
            <a:noAutofit/>
          </a:bodyPr>
          <a:lstStyle/>
          <a:p>
            <a:pPr marL="0" lvl="0" indent="0" algn="ctr" defTabSz="2089150">
              <a:lnSpc>
                <a:spcPct val="90000"/>
              </a:lnSpc>
              <a:spcBef>
                <a:spcPct val="0"/>
              </a:spcBef>
              <a:spcAft>
                <a:spcPct val="35000"/>
              </a:spcAft>
              <a:buNone/>
            </a:pPr>
            <a:r>
              <a:rPr lang="en-US" sz="4800" kern="1200" dirty="0"/>
              <a:t>Custom</a:t>
            </a:r>
            <a:r>
              <a:rPr lang="en-US" sz="3200" kern="1200" dirty="0"/>
              <a:t> </a:t>
            </a:r>
            <a:r>
              <a:rPr lang="en-US" sz="3200" dirty="0"/>
              <a:t>Application</a:t>
            </a:r>
            <a:endParaRPr lang="en-US" sz="3200" kern="1200" dirty="0"/>
          </a:p>
        </p:txBody>
      </p:sp>
      <p:sp>
        <p:nvSpPr>
          <p:cNvPr id="7" name="Rectangle: Rounded Corners 6">
            <a:extLst>
              <a:ext uri="{FF2B5EF4-FFF2-40B4-BE49-F238E27FC236}">
                <a16:creationId xmlns:a16="http://schemas.microsoft.com/office/drawing/2014/main" id="{751AFCBB-AC60-1A75-5A87-4B4340A518AF}"/>
              </a:ext>
            </a:extLst>
          </p:cNvPr>
          <p:cNvSpPr/>
          <p:nvPr/>
        </p:nvSpPr>
        <p:spPr>
          <a:xfrm>
            <a:off x="246399" y="812800"/>
            <a:ext cx="3747752" cy="5327649"/>
          </a:xfrm>
          <a:prstGeom prst="roundRect">
            <a:avLst/>
          </a:prstGeom>
          <a:solidFill>
            <a:srgbClr val="8064A2"/>
          </a:solidFill>
          <a:ln w="38100">
            <a:solidFill>
              <a:srgbClr val="8064A2"/>
            </a:solidFill>
          </a:ln>
        </p:spPr>
        <p:style>
          <a:lnRef idx="2">
            <a:schemeClr val="accent1">
              <a:shade val="15000"/>
            </a:schemeClr>
          </a:lnRef>
          <a:fillRef idx="1">
            <a:schemeClr val="accent1"/>
          </a:fillRef>
          <a:effectRef idx="0">
            <a:schemeClr val="accent1"/>
          </a:effectRef>
          <a:fontRef idx="minor">
            <a:schemeClr val="lt1"/>
          </a:fontRef>
        </p:style>
        <p:txBody>
          <a:bodyPr rtlCol="0" anchor="t">
            <a:normAutofit/>
          </a:bodyPr>
          <a:lstStyle/>
          <a:p>
            <a:pPr algn="ctr"/>
            <a:r>
              <a:rPr lang="en-US" sz="2800" dirty="0"/>
              <a:t>Multimodal Web Page</a:t>
            </a:r>
          </a:p>
        </p:txBody>
      </p:sp>
      <p:pic>
        <p:nvPicPr>
          <p:cNvPr id="8" name="Graphic 7" descr="Document with solid fill">
            <a:extLst>
              <a:ext uri="{FF2B5EF4-FFF2-40B4-BE49-F238E27FC236}">
                <a16:creationId xmlns:a16="http://schemas.microsoft.com/office/drawing/2014/main" id="{E898723A-D905-821D-366B-FEE21130DE8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0086" y="1618249"/>
            <a:ext cx="913591" cy="913591"/>
          </a:xfrm>
          <a:prstGeom prst="rect">
            <a:avLst/>
          </a:prstGeom>
        </p:spPr>
      </p:pic>
      <p:pic>
        <p:nvPicPr>
          <p:cNvPr id="10" name="Graphic 9" descr="Volume with solid fill">
            <a:extLst>
              <a:ext uri="{FF2B5EF4-FFF2-40B4-BE49-F238E27FC236}">
                <a16:creationId xmlns:a16="http://schemas.microsoft.com/office/drawing/2014/main" id="{4A99C74E-B7B4-7E28-31DB-47357227FAF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607313" y="1618249"/>
            <a:ext cx="913591" cy="913591"/>
          </a:xfrm>
          <a:prstGeom prst="rect">
            <a:avLst/>
          </a:prstGeom>
        </p:spPr>
      </p:pic>
      <p:pic>
        <p:nvPicPr>
          <p:cNvPr id="11" name="Graphic 10" descr="Eye with solid fill">
            <a:extLst>
              <a:ext uri="{FF2B5EF4-FFF2-40B4-BE49-F238E27FC236}">
                <a16:creationId xmlns:a16="http://schemas.microsoft.com/office/drawing/2014/main" id="{BF7635D0-FF1A-13A0-3BFE-720B6FFBB8C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636256" y="1624782"/>
            <a:ext cx="913591" cy="913591"/>
          </a:xfrm>
          <a:prstGeom prst="rect">
            <a:avLst/>
          </a:prstGeom>
        </p:spPr>
      </p:pic>
      <p:sp>
        <p:nvSpPr>
          <p:cNvPr id="12" name="Rectangle 11">
            <a:extLst>
              <a:ext uri="{FF2B5EF4-FFF2-40B4-BE49-F238E27FC236}">
                <a16:creationId xmlns:a16="http://schemas.microsoft.com/office/drawing/2014/main" id="{0616C379-CFF7-FCBA-B88A-E399243D526C}"/>
              </a:ext>
            </a:extLst>
          </p:cNvPr>
          <p:cNvSpPr/>
          <p:nvPr/>
        </p:nvSpPr>
        <p:spPr>
          <a:xfrm>
            <a:off x="558800" y="2522958"/>
            <a:ext cx="904877" cy="29591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rmAutofit fontScale="77500" lnSpcReduction="20000"/>
          </a:bodyPr>
          <a:lstStyle/>
          <a:p>
            <a:pPr algn="ctr"/>
            <a:r>
              <a:rPr lang="en-US" sz="2100" dirty="0"/>
              <a:t>Read</a:t>
            </a:r>
            <a:endParaRPr lang="en-US" dirty="0"/>
          </a:p>
        </p:txBody>
      </p:sp>
      <p:sp>
        <p:nvSpPr>
          <p:cNvPr id="13" name="Rectangle 12">
            <a:extLst>
              <a:ext uri="{FF2B5EF4-FFF2-40B4-BE49-F238E27FC236}">
                <a16:creationId xmlns:a16="http://schemas.microsoft.com/office/drawing/2014/main" id="{E8BB4588-C791-F65D-0BA2-F364FF947A9D}"/>
              </a:ext>
            </a:extLst>
          </p:cNvPr>
          <p:cNvSpPr/>
          <p:nvPr/>
        </p:nvSpPr>
        <p:spPr>
          <a:xfrm>
            <a:off x="1601884" y="2522958"/>
            <a:ext cx="904877" cy="29591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r>
              <a:rPr lang="en-US" sz="1600" dirty="0"/>
              <a:t>Listen</a:t>
            </a:r>
          </a:p>
        </p:txBody>
      </p:sp>
      <p:sp>
        <p:nvSpPr>
          <p:cNvPr id="14" name="Rectangle 13">
            <a:extLst>
              <a:ext uri="{FF2B5EF4-FFF2-40B4-BE49-F238E27FC236}">
                <a16:creationId xmlns:a16="http://schemas.microsoft.com/office/drawing/2014/main" id="{1D8122A2-49D5-E710-99AB-36D53032899E}"/>
              </a:ext>
            </a:extLst>
          </p:cNvPr>
          <p:cNvSpPr/>
          <p:nvPr/>
        </p:nvSpPr>
        <p:spPr>
          <a:xfrm>
            <a:off x="2644968" y="2522958"/>
            <a:ext cx="904878" cy="29591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t>Watch</a:t>
            </a:r>
          </a:p>
        </p:txBody>
      </p:sp>
      <p:sp>
        <p:nvSpPr>
          <p:cNvPr id="15" name="Rectangle: Rounded Corners 14">
            <a:extLst>
              <a:ext uri="{FF2B5EF4-FFF2-40B4-BE49-F238E27FC236}">
                <a16:creationId xmlns:a16="http://schemas.microsoft.com/office/drawing/2014/main" id="{09255A49-5B2A-5956-590B-3D3B503CAF5E}"/>
              </a:ext>
            </a:extLst>
          </p:cNvPr>
          <p:cNvSpPr/>
          <p:nvPr/>
        </p:nvSpPr>
        <p:spPr>
          <a:xfrm>
            <a:off x="613211" y="3187503"/>
            <a:ext cx="3049011" cy="451321"/>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r>
              <a:rPr lang="en-US" sz="2000" dirty="0">
                <a:solidFill>
                  <a:schemeClr val="tx1"/>
                </a:solidFill>
              </a:rPr>
              <a:t>          Image Files</a:t>
            </a:r>
          </a:p>
        </p:txBody>
      </p:sp>
      <p:pic>
        <p:nvPicPr>
          <p:cNvPr id="16" name="Graphic 15" descr="Open folder with solid fill">
            <a:extLst>
              <a:ext uri="{FF2B5EF4-FFF2-40B4-BE49-F238E27FC236}">
                <a16:creationId xmlns:a16="http://schemas.microsoft.com/office/drawing/2014/main" id="{D5A82020-C923-A050-AE46-E6C1A23412F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77137" y="3172987"/>
            <a:ext cx="480352" cy="480352"/>
          </a:xfrm>
          <a:prstGeom prst="rect">
            <a:avLst/>
          </a:prstGeom>
        </p:spPr>
      </p:pic>
      <p:sp>
        <p:nvSpPr>
          <p:cNvPr id="17" name="Rectangle: Rounded Corners 16">
            <a:extLst>
              <a:ext uri="{FF2B5EF4-FFF2-40B4-BE49-F238E27FC236}">
                <a16:creationId xmlns:a16="http://schemas.microsoft.com/office/drawing/2014/main" id="{ADD715DA-68FE-6563-F021-021817F352B3}"/>
              </a:ext>
            </a:extLst>
          </p:cNvPr>
          <p:cNvSpPr/>
          <p:nvPr/>
        </p:nvSpPr>
        <p:spPr>
          <a:xfrm>
            <a:off x="613211" y="3676158"/>
            <a:ext cx="3049011" cy="451321"/>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r>
              <a:rPr lang="en-US" sz="2000" dirty="0">
                <a:solidFill>
                  <a:schemeClr val="tx1"/>
                </a:solidFill>
              </a:rPr>
              <a:t>          Audio / Video Files</a:t>
            </a:r>
          </a:p>
        </p:txBody>
      </p:sp>
      <p:pic>
        <p:nvPicPr>
          <p:cNvPr id="18" name="Graphic 17" descr="Open folder with solid fill">
            <a:extLst>
              <a:ext uri="{FF2B5EF4-FFF2-40B4-BE49-F238E27FC236}">
                <a16:creationId xmlns:a16="http://schemas.microsoft.com/office/drawing/2014/main" id="{0945618D-2F80-7C07-C5D6-85FDA1709E1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77137" y="3661642"/>
            <a:ext cx="480352" cy="480352"/>
          </a:xfrm>
          <a:prstGeom prst="rect">
            <a:avLst/>
          </a:prstGeom>
        </p:spPr>
      </p:pic>
      <p:sp>
        <p:nvSpPr>
          <p:cNvPr id="19" name="Rectangle: Rounded Corners 18">
            <a:extLst>
              <a:ext uri="{FF2B5EF4-FFF2-40B4-BE49-F238E27FC236}">
                <a16:creationId xmlns:a16="http://schemas.microsoft.com/office/drawing/2014/main" id="{85CD260F-32E2-163B-5718-B88BB437DB70}"/>
              </a:ext>
            </a:extLst>
          </p:cNvPr>
          <p:cNvSpPr/>
          <p:nvPr/>
        </p:nvSpPr>
        <p:spPr>
          <a:xfrm>
            <a:off x="625005" y="4171754"/>
            <a:ext cx="3049011" cy="451321"/>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r>
              <a:rPr lang="en-US" sz="2000" dirty="0">
                <a:solidFill>
                  <a:schemeClr val="tx1"/>
                </a:solidFill>
              </a:rPr>
              <a:t>          Slide Note Files</a:t>
            </a:r>
          </a:p>
        </p:txBody>
      </p:sp>
      <p:pic>
        <p:nvPicPr>
          <p:cNvPr id="20" name="Graphic 19" descr="Open folder with solid fill">
            <a:extLst>
              <a:ext uri="{FF2B5EF4-FFF2-40B4-BE49-F238E27FC236}">
                <a16:creationId xmlns:a16="http://schemas.microsoft.com/office/drawing/2014/main" id="{F7B5931C-49B7-FCAD-2B9F-F2E46DF6D3E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88931" y="4157238"/>
            <a:ext cx="480352" cy="480352"/>
          </a:xfrm>
          <a:prstGeom prst="rect">
            <a:avLst/>
          </a:prstGeom>
        </p:spPr>
      </p:pic>
      <p:sp>
        <p:nvSpPr>
          <p:cNvPr id="21" name="Rectangle: Rounded Corners 20">
            <a:extLst>
              <a:ext uri="{FF2B5EF4-FFF2-40B4-BE49-F238E27FC236}">
                <a16:creationId xmlns:a16="http://schemas.microsoft.com/office/drawing/2014/main" id="{F2F484B6-9CB7-43F6-712E-31F59762BD06}"/>
              </a:ext>
            </a:extLst>
          </p:cNvPr>
          <p:cNvSpPr/>
          <p:nvPr/>
        </p:nvSpPr>
        <p:spPr>
          <a:xfrm>
            <a:off x="625005" y="4681046"/>
            <a:ext cx="3049011" cy="451321"/>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r>
              <a:rPr lang="en-US" sz="2000" dirty="0">
                <a:solidFill>
                  <a:schemeClr val="tx1"/>
                </a:solidFill>
              </a:rPr>
              <a:t>          Viewer Application</a:t>
            </a:r>
          </a:p>
        </p:txBody>
      </p:sp>
      <p:pic>
        <p:nvPicPr>
          <p:cNvPr id="22" name="Graphic 21" descr="Open folder with solid fill">
            <a:extLst>
              <a:ext uri="{FF2B5EF4-FFF2-40B4-BE49-F238E27FC236}">
                <a16:creationId xmlns:a16="http://schemas.microsoft.com/office/drawing/2014/main" id="{CDE58874-6E4C-DB67-7C04-D81FCC647E2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88931" y="4666530"/>
            <a:ext cx="480352" cy="480352"/>
          </a:xfrm>
          <a:prstGeom prst="rect">
            <a:avLst/>
          </a:prstGeom>
        </p:spPr>
      </p:pic>
      <p:sp>
        <p:nvSpPr>
          <p:cNvPr id="23" name="Rectangle: Rounded Corners 22">
            <a:extLst>
              <a:ext uri="{FF2B5EF4-FFF2-40B4-BE49-F238E27FC236}">
                <a16:creationId xmlns:a16="http://schemas.microsoft.com/office/drawing/2014/main" id="{3DD9D196-EDE8-FAA6-3E04-48F9316A39CF}"/>
              </a:ext>
            </a:extLst>
          </p:cNvPr>
          <p:cNvSpPr/>
          <p:nvPr/>
        </p:nvSpPr>
        <p:spPr>
          <a:xfrm>
            <a:off x="625005" y="5176128"/>
            <a:ext cx="3049011" cy="451321"/>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r>
              <a:rPr lang="en-US" sz="2000" dirty="0">
                <a:solidFill>
                  <a:schemeClr val="tx1"/>
                </a:solidFill>
              </a:rPr>
              <a:t>          Index.htm</a:t>
            </a:r>
          </a:p>
        </p:txBody>
      </p:sp>
      <p:pic>
        <p:nvPicPr>
          <p:cNvPr id="24" name="Graphic 23" descr="Document with solid fill">
            <a:extLst>
              <a:ext uri="{FF2B5EF4-FFF2-40B4-BE49-F238E27FC236}">
                <a16:creationId xmlns:a16="http://schemas.microsoft.com/office/drawing/2014/main" id="{64EEC96F-7BB5-5411-469B-BCF4277678F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00289" y="5173188"/>
            <a:ext cx="451321" cy="451321"/>
          </a:xfrm>
          <a:prstGeom prst="rect">
            <a:avLst/>
          </a:prstGeom>
        </p:spPr>
      </p:pic>
      <p:cxnSp>
        <p:nvCxnSpPr>
          <p:cNvPr id="33" name="Straight Arrow Connector 32">
            <a:extLst>
              <a:ext uri="{FF2B5EF4-FFF2-40B4-BE49-F238E27FC236}">
                <a16:creationId xmlns:a16="http://schemas.microsoft.com/office/drawing/2014/main" id="{62FECCA9-F0E3-6362-0851-A68E55A7ED97}"/>
              </a:ext>
            </a:extLst>
          </p:cNvPr>
          <p:cNvCxnSpPr>
            <a:cxnSpLocks/>
          </p:cNvCxnSpPr>
          <p:nvPr/>
        </p:nvCxnSpPr>
        <p:spPr>
          <a:xfrm>
            <a:off x="3982344" y="5316840"/>
            <a:ext cx="806709" cy="0"/>
          </a:xfrm>
          <a:prstGeom prst="straightConnector1">
            <a:avLst/>
          </a:prstGeom>
          <a:ln w="57150">
            <a:solidFill>
              <a:srgbClr val="8064A2"/>
            </a:solidFill>
            <a:tailEnd type="triangle"/>
          </a:ln>
        </p:spPr>
        <p:style>
          <a:lnRef idx="1">
            <a:schemeClr val="accent1"/>
          </a:lnRef>
          <a:fillRef idx="0">
            <a:schemeClr val="accent1"/>
          </a:fillRef>
          <a:effectRef idx="0">
            <a:schemeClr val="accent1"/>
          </a:effectRef>
          <a:fontRef idx="minor">
            <a:schemeClr val="tx1"/>
          </a:fontRef>
        </p:style>
      </p:cxnSp>
      <p:pic>
        <p:nvPicPr>
          <p:cNvPr id="6" name="Slide4">
            <a:hlinkClick r:id="" action="ppaction://media"/>
            <a:extLst>
              <a:ext uri="{FF2B5EF4-FFF2-40B4-BE49-F238E27FC236}">
                <a16:creationId xmlns:a16="http://schemas.microsoft.com/office/drawing/2014/main" id="{5E9DF2C9-8EA3-69F3-2A33-6587B8AFDF33}"/>
              </a:ext>
            </a:extLst>
          </p:cNvPr>
          <p:cNvPicPr>
            <a:picLocks noChangeAspect="1"/>
          </p:cNvPicPr>
          <p:nvPr>
            <a:audioFile r:link="rId3"/>
            <p:extLst>
              <p:ext uri="{DAA4B4D4-6D71-4841-9C94-3DE7FCFB9230}">
                <p14:media xmlns:p14="http://schemas.microsoft.com/office/powerpoint/2010/main" r:embed="rId2"/>
              </p:ext>
            </p:extLst>
          </p:nvPr>
        </p:nvPicPr>
        <p:blipFill>
          <a:blip r:embed="rId14"/>
          <a:stretch>
            <a:fillRect/>
          </a:stretch>
        </p:blipFill>
        <p:spPr>
          <a:xfrm>
            <a:off x="11430000" y="6096000"/>
            <a:ext cx="609600" cy="609600"/>
          </a:xfrm>
          <a:prstGeom prst="rect">
            <a:avLst/>
          </a:prstGeom>
        </p:spPr>
      </p:pic>
    </p:spTree>
    <p:custDataLst>
      <p:tags r:id="rId1"/>
    </p:custDataLst>
    <p:extLst>
      <p:ext uri="{BB962C8B-B14F-4D97-AF65-F5344CB8AC3E}">
        <p14:creationId xmlns:p14="http://schemas.microsoft.com/office/powerpoint/2010/main" val="71619927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advTm="61301">
        <p159:morph option="byObject"/>
      </p:transition>
    </mc:Choice>
    <mc:Fallback>
      <p:transition spd="slow" advTm="61301">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499"/>
                                          </p:stCondLst>
                                        </p:cTn>
                                        <p:tgtEl>
                                          <p:spTgt spid="6"/>
                                        </p:tgtEl>
                                        <p:attrNameLst>
                                          <p:attrName>style.visibility</p:attrName>
                                        </p:attrNameLst>
                                      </p:cBhvr>
                                      <p:to>
                                        <p:strVal val="visible"/>
                                      </p:to>
                                    </p:set>
                                  </p:childTnLst>
                                </p:cTn>
                              </p:par>
                            </p:childTnLst>
                          </p:cTn>
                        </p:par>
                        <p:par>
                          <p:cTn id="7" fill="hold">
                            <p:stCondLst>
                              <p:cond delay="500"/>
                            </p:stCondLst>
                            <p:childTnLst>
                              <p:par>
                                <p:cTn id="8" presetID="1" presetClass="mediacall" presetSubtype="0" fill="hold" nodeType="afterEffect">
                                  <p:stCondLst>
                                    <p:cond delay="0"/>
                                  </p:stCondLst>
                                  <p:childTnLst>
                                    <p:cmd type="call" cmd="playFrom(0.0)">
                                      <p:cBhvr>
                                        <p:cTn id="9" dur="1" fill="hold"/>
                                        <p:tgtEl>
                                          <p:spTgt spid="6"/>
                                        </p:tgtEl>
                                      </p:cBhvr>
                                    </p:cmd>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29"/>
                                        </p:tgtEl>
                                        <p:attrNameLst>
                                          <p:attrName>style.visibility</p:attrName>
                                        </p:attrNameLst>
                                      </p:cBhvr>
                                      <p:to>
                                        <p:strVal val="visible"/>
                                      </p:to>
                                    </p:set>
                                    <p:animEffect transition="in" filter="fade">
                                      <p:cBhvr>
                                        <p:cTn id="14" dur="500"/>
                                        <p:tgtEl>
                                          <p:spTgt spid="29"/>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42"/>
                                        </p:tgtEl>
                                        <p:attrNameLst>
                                          <p:attrName>style.visibility</p:attrName>
                                        </p:attrNameLst>
                                      </p:cBhvr>
                                      <p:to>
                                        <p:strVal val="visible"/>
                                      </p:to>
                                    </p:set>
                                    <p:animEffect transition="in" filter="fade">
                                      <p:cBhvr>
                                        <p:cTn id="17" dur="500"/>
                                        <p:tgtEl>
                                          <p:spTgt spid="4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41"/>
                                        </p:tgtEl>
                                        <p:attrNameLst>
                                          <p:attrName>style.visibility</p:attrName>
                                        </p:attrNameLst>
                                      </p:cBhvr>
                                      <p:to>
                                        <p:strVal val="visible"/>
                                      </p:to>
                                    </p:set>
                                    <p:animEffect transition="in" filter="fade">
                                      <p:cBhvr>
                                        <p:cTn id="20" dur="500"/>
                                        <p:tgtEl>
                                          <p:spTgt spid="41"/>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fade">
                                      <p:cBhvr>
                                        <p:cTn id="25" dur="500"/>
                                        <p:tgtEl>
                                          <p:spTgt spid="25"/>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4"/>
                                        </p:tgtEl>
                                        <p:attrNameLst>
                                          <p:attrName>style.visibility</p:attrName>
                                        </p:attrNameLst>
                                      </p:cBhvr>
                                      <p:to>
                                        <p:strVal val="visible"/>
                                      </p:to>
                                    </p:set>
                                    <p:animEffect transition="in" filter="fade">
                                      <p:cBhvr>
                                        <p:cTn id="28" dur="500"/>
                                        <p:tgtEl>
                                          <p:spTgt spid="44"/>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3"/>
                                        </p:tgtEl>
                                        <p:attrNameLst>
                                          <p:attrName>style.visibility</p:attrName>
                                        </p:attrNameLst>
                                      </p:cBhvr>
                                      <p:to>
                                        <p:strVal val="visible"/>
                                      </p:to>
                                    </p:set>
                                    <p:animEffect transition="in" filter="fade">
                                      <p:cBhvr>
                                        <p:cTn id="31" dur="500"/>
                                        <p:tgtEl>
                                          <p:spTgt spid="43"/>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33"/>
                                        </p:tgtEl>
                                        <p:attrNameLst>
                                          <p:attrName>style.visibility</p:attrName>
                                        </p:attrNameLst>
                                      </p:cBhvr>
                                      <p:to>
                                        <p:strVal val="visible"/>
                                      </p:to>
                                    </p:set>
                                    <p:animEffect transition="in" filter="fade">
                                      <p:cBhvr>
                                        <p:cTn id="36" dur="500"/>
                                        <p:tgtEl>
                                          <p:spTgt spid="33"/>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46"/>
                                        </p:tgtEl>
                                        <p:attrNameLst>
                                          <p:attrName>style.visibility</p:attrName>
                                        </p:attrNameLst>
                                      </p:cBhvr>
                                      <p:to>
                                        <p:strVal val="visible"/>
                                      </p:to>
                                    </p:set>
                                    <p:animEffect transition="in" filter="fade">
                                      <p:cBhvr>
                                        <p:cTn id="39" dur="500"/>
                                        <p:tgtEl>
                                          <p:spTgt spid="46"/>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45"/>
                                        </p:tgtEl>
                                        <p:attrNameLst>
                                          <p:attrName>style.visibility</p:attrName>
                                        </p:attrNameLst>
                                      </p:cBhvr>
                                      <p:to>
                                        <p:strVal val="visible"/>
                                      </p:to>
                                    </p:set>
                                    <p:animEffect transition="in" filter="fade">
                                      <p:cBhvr>
                                        <p:cTn id="42"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43" fill="hold" display="0">
                  <p:stCondLst>
                    <p:cond delay="indefinite"/>
                  </p:stCondLst>
                  <p:endCondLst>
                    <p:cond evt="onStopAudio" delay="0">
                      <p:tgtEl>
                        <p:sldTgt/>
                      </p:tgtEl>
                    </p:cond>
                  </p:endCondLst>
                </p:cTn>
                <p:tgtEl>
                  <p:spTgt spid="6"/>
                </p:tgtEl>
              </p:cMediaNode>
            </p:audio>
          </p:childTnLst>
        </p:cTn>
      </p:par>
    </p:tnLst>
    <p:bldLst>
      <p:bldP spid="41" grpId="0" animBg="1" autoUpdateAnimBg="0"/>
      <p:bldP spid="42" grpId="0" animBg="1" autoUpdateAnimBg="0"/>
      <p:bldP spid="43" grpId="0" animBg="1" autoUpdateAnimBg="0"/>
      <p:bldP spid="44" grpId="0" animBg="1" autoUpdateAnimBg="0"/>
      <p:bldP spid="45" grpId="0" animBg="1" autoUpdateAnimBg="0"/>
      <p:bldP spid="46" grpId="0" animBg="1" autoUpdateAnimBg="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Placeholder">
            <a:extLst>
              <a:ext uri="{FF2B5EF4-FFF2-40B4-BE49-F238E27FC236}">
                <a16:creationId xmlns:a16="http://schemas.microsoft.com/office/drawing/2014/main" id="{503BE458-2B2E-6B96-931E-C924E4F52390}"/>
              </a:ext>
            </a:extLst>
          </p:cNvPr>
          <p:cNvSpPr>
            <a:spLocks noGrp="1"/>
          </p:cNvSpPr>
          <p:nvPr>
            <p:ph type="title"/>
          </p:nvPr>
        </p:nvSpPr>
        <p:spPr/>
        <p:txBody>
          <a:bodyPr>
            <a:normAutofit fontScale="90000"/>
          </a:bodyPr>
          <a:lstStyle/>
          <a:p>
            <a:r>
              <a:rPr lang="en-US" dirty="0"/>
              <a:t>Roadmap</a:t>
            </a:r>
          </a:p>
        </p:txBody>
      </p:sp>
      <p:sp>
        <p:nvSpPr>
          <p:cNvPr id="3" name="ContentPlaceholder" hidden="1">
            <a:extLst>
              <a:ext uri="{FF2B5EF4-FFF2-40B4-BE49-F238E27FC236}">
                <a16:creationId xmlns:a16="http://schemas.microsoft.com/office/drawing/2014/main" id="{8C0E1E7A-6E13-BF97-334C-1FF54399A38F}"/>
              </a:ext>
            </a:extLst>
          </p:cNvPr>
          <p:cNvSpPr>
            <a:spLocks noGrp="1"/>
          </p:cNvSpPr>
          <p:nvPr>
            <p:ph sz="half" idx="2"/>
          </p:nvPr>
        </p:nvSpPr>
        <p:spPr/>
        <p:txBody>
          <a:bodyPr/>
          <a:lstStyle/>
          <a:p>
            <a:endParaRPr lang="en-US" dirty="0"/>
          </a:p>
        </p:txBody>
      </p:sp>
      <p:sp>
        <p:nvSpPr>
          <p:cNvPr id="4" name="SectionNameTextPlaceholder">
            <a:extLst>
              <a:ext uri="{FF2B5EF4-FFF2-40B4-BE49-F238E27FC236}">
                <a16:creationId xmlns:a16="http://schemas.microsoft.com/office/drawing/2014/main" id="{7F8ED9CE-7F4A-80F8-6011-A7F813F2F3A6}"/>
              </a:ext>
            </a:extLst>
          </p:cNvPr>
          <p:cNvSpPr>
            <a:spLocks noGrp="1"/>
          </p:cNvSpPr>
          <p:nvPr>
            <p:ph type="body" sz="quarter" idx="3"/>
          </p:nvPr>
        </p:nvSpPr>
        <p:spPr/>
        <p:txBody>
          <a:bodyPr/>
          <a:lstStyle/>
          <a:p>
            <a:r>
              <a:rPr lang="en-US" dirty="0"/>
              <a:t>Roadmap</a:t>
            </a:r>
          </a:p>
        </p:txBody>
      </p:sp>
      <p:sp>
        <p:nvSpPr>
          <p:cNvPr id="5" name="ReferenceTextPlaceholder">
            <a:extLst>
              <a:ext uri="{FF2B5EF4-FFF2-40B4-BE49-F238E27FC236}">
                <a16:creationId xmlns:a16="http://schemas.microsoft.com/office/drawing/2014/main" id="{C13A5AAE-D67E-DE20-0515-5B51BEAD5988}"/>
              </a:ext>
            </a:extLst>
          </p:cNvPr>
          <p:cNvSpPr>
            <a:spLocks noGrp="1"/>
          </p:cNvSpPr>
          <p:nvPr>
            <p:ph type="body" sz="quarter" idx="20"/>
          </p:nvPr>
        </p:nvSpPr>
        <p:spPr/>
        <p:txBody>
          <a:bodyPr/>
          <a:lstStyle/>
          <a:p>
            <a:endParaRPr lang="en-US" dirty="0"/>
          </a:p>
        </p:txBody>
      </p:sp>
      <p:sp>
        <p:nvSpPr>
          <p:cNvPr id="11" name="rectHighlight">
            <a:extLst>
              <a:ext uri="{FF2B5EF4-FFF2-40B4-BE49-F238E27FC236}">
                <a16:creationId xmlns:a16="http://schemas.microsoft.com/office/drawing/2014/main" id="{C9D64FA5-D40B-DF7F-8913-6E3504C32CE0}"/>
              </a:ext>
            </a:extLst>
          </p:cNvPr>
          <p:cNvSpPr/>
          <p:nvPr/>
        </p:nvSpPr>
        <p:spPr>
          <a:xfrm>
            <a:off x="8153219" y="27881"/>
            <a:ext cx="1965252" cy="588427"/>
          </a:xfrm>
          <a:prstGeom prst="roundRect">
            <a:avLst/>
          </a:prstGeom>
          <a:noFill/>
          <a:ln w="5715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solidFill>
            </a:endParaRPr>
          </a:p>
        </p:txBody>
      </p:sp>
      <p:sp>
        <p:nvSpPr>
          <p:cNvPr id="6" name="Freeform: Shape 5">
            <a:extLst>
              <a:ext uri="{FF2B5EF4-FFF2-40B4-BE49-F238E27FC236}">
                <a16:creationId xmlns:a16="http://schemas.microsoft.com/office/drawing/2014/main" id="{EC2FF735-84E5-7E93-719F-C992B093F870}"/>
              </a:ext>
            </a:extLst>
          </p:cNvPr>
          <p:cNvSpPr/>
          <p:nvPr/>
        </p:nvSpPr>
        <p:spPr>
          <a:xfrm>
            <a:off x="228600" y="695897"/>
            <a:ext cx="5556250" cy="503685"/>
          </a:xfrm>
          <a:custGeom>
            <a:avLst/>
            <a:gdLst>
              <a:gd name="connsiteX0" fmla="*/ 0 w 12053455"/>
              <a:gd name="connsiteY0" fmla="*/ 83949 h 503685"/>
              <a:gd name="connsiteX1" fmla="*/ 83949 w 12053455"/>
              <a:gd name="connsiteY1" fmla="*/ 0 h 503685"/>
              <a:gd name="connsiteX2" fmla="*/ 11969506 w 12053455"/>
              <a:gd name="connsiteY2" fmla="*/ 0 h 503685"/>
              <a:gd name="connsiteX3" fmla="*/ 12053455 w 12053455"/>
              <a:gd name="connsiteY3" fmla="*/ 83949 h 503685"/>
              <a:gd name="connsiteX4" fmla="*/ 12053455 w 12053455"/>
              <a:gd name="connsiteY4" fmla="*/ 419736 h 503685"/>
              <a:gd name="connsiteX5" fmla="*/ 11969506 w 12053455"/>
              <a:gd name="connsiteY5" fmla="*/ 503685 h 503685"/>
              <a:gd name="connsiteX6" fmla="*/ 83949 w 12053455"/>
              <a:gd name="connsiteY6" fmla="*/ 503685 h 503685"/>
              <a:gd name="connsiteX7" fmla="*/ 0 w 12053455"/>
              <a:gd name="connsiteY7" fmla="*/ 419736 h 503685"/>
              <a:gd name="connsiteX8" fmla="*/ 0 w 12053455"/>
              <a:gd name="connsiteY8" fmla="*/ 83949 h 503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53455" h="503685">
                <a:moveTo>
                  <a:pt x="0" y="83949"/>
                </a:moveTo>
                <a:cubicBezTo>
                  <a:pt x="0" y="37585"/>
                  <a:pt x="37585" y="0"/>
                  <a:pt x="83949" y="0"/>
                </a:cubicBezTo>
                <a:lnTo>
                  <a:pt x="11969506" y="0"/>
                </a:lnTo>
                <a:cubicBezTo>
                  <a:pt x="12015870" y="0"/>
                  <a:pt x="12053455" y="37585"/>
                  <a:pt x="12053455" y="83949"/>
                </a:cubicBezTo>
                <a:lnTo>
                  <a:pt x="12053455" y="419736"/>
                </a:lnTo>
                <a:cubicBezTo>
                  <a:pt x="12053455" y="466100"/>
                  <a:pt x="12015870" y="503685"/>
                  <a:pt x="11969506" y="503685"/>
                </a:cubicBezTo>
                <a:lnTo>
                  <a:pt x="83949" y="503685"/>
                </a:lnTo>
                <a:cubicBezTo>
                  <a:pt x="37585" y="503685"/>
                  <a:pt x="0" y="466100"/>
                  <a:pt x="0" y="419736"/>
                </a:cubicBezTo>
                <a:lnTo>
                  <a:pt x="0" y="83949"/>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4598" tIns="104598" rIns="104598" bIns="104598" numCol="1" spcCol="1270" anchor="ctr" anchorCtr="0">
            <a:noAutofit/>
          </a:bodyPr>
          <a:lstStyle/>
          <a:p>
            <a:pPr marL="0" lvl="0" indent="0" algn="l" defTabSz="933450">
              <a:lnSpc>
                <a:spcPct val="90000"/>
              </a:lnSpc>
              <a:spcBef>
                <a:spcPct val="0"/>
              </a:spcBef>
              <a:spcAft>
                <a:spcPct val="35000"/>
              </a:spcAft>
              <a:buNone/>
            </a:pPr>
            <a:r>
              <a:rPr lang="en-US" sz="2100" kern="1200" dirty="0"/>
              <a:t>Design for Mobile, SEO, and Accessibility</a:t>
            </a:r>
          </a:p>
        </p:txBody>
      </p:sp>
      <p:sp>
        <p:nvSpPr>
          <p:cNvPr id="7" name="Freeform: Shape 6">
            <a:extLst>
              <a:ext uri="{FF2B5EF4-FFF2-40B4-BE49-F238E27FC236}">
                <a16:creationId xmlns:a16="http://schemas.microsoft.com/office/drawing/2014/main" id="{FBA1FEA7-900C-5B0D-A73E-86CD6148280E}"/>
              </a:ext>
            </a:extLst>
          </p:cNvPr>
          <p:cNvSpPr/>
          <p:nvPr/>
        </p:nvSpPr>
        <p:spPr>
          <a:xfrm>
            <a:off x="228600" y="1260062"/>
            <a:ext cx="5556250" cy="503685"/>
          </a:xfrm>
          <a:custGeom>
            <a:avLst/>
            <a:gdLst>
              <a:gd name="connsiteX0" fmla="*/ 0 w 12053455"/>
              <a:gd name="connsiteY0" fmla="*/ 83949 h 503685"/>
              <a:gd name="connsiteX1" fmla="*/ 83949 w 12053455"/>
              <a:gd name="connsiteY1" fmla="*/ 0 h 503685"/>
              <a:gd name="connsiteX2" fmla="*/ 11969506 w 12053455"/>
              <a:gd name="connsiteY2" fmla="*/ 0 h 503685"/>
              <a:gd name="connsiteX3" fmla="*/ 12053455 w 12053455"/>
              <a:gd name="connsiteY3" fmla="*/ 83949 h 503685"/>
              <a:gd name="connsiteX4" fmla="*/ 12053455 w 12053455"/>
              <a:gd name="connsiteY4" fmla="*/ 419736 h 503685"/>
              <a:gd name="connsiteX5" fmla="*/ 11969506 w 12053455"/>
              <a:gd name="connsiteY5" fmla="*/ 503685 h 503685"/>
              <a:gd name="connsiteX6" fmla="*/ 83949 w 12053455"/>
              <a:gd name="connsiteY6" fmla="*/ 503685 h 503685"/>
              <a:gd name="connsiteX7" fmla="*/ 0 w 12053455"/>
              <a:gd name="connsiteY7" fmla="*/ 419736 h 503685"/>
              <a:gd name="connsiteX8" fmla="*/ 0 w 12053455"/>
              <a:gd name="connsiteY8" fmla="*/ 83949 h 503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53455" h="503685">
                <a:moveTo>
                  <a:pt x="0" y="83949"/>
                </a:moveTo>
                <a:cubicBezTo>
                  <a:pt x="0" y="37585"/>
                  <a:pt x="37585" y="0"/>
                  <a:pt x="83949" y="0"/>
                </a:cubicBezTo>
                <a:lnTo>
                  <a:pt x="11969506" y="0"/>
                </a:lnTo>
                <a:cubicBezTo>
                  <a:pt x="12015870" y="0"/>
                  <a:pt x="12053455" y="37585"/>
                  <a:pt x="12053455" y="83949"/>
                </a:cubicBezTo>
                <a:lnTo>
                  <a:pt x="12053455" y="419736"/>
                </a:lnTo>
                <a:cubicBezTo>
                  <a:pt x="12053455" y="466100"/>
                  <a:pt x="12015870" y="503685"/>
                  <a:pt x="11969506" y="503685"/>
                </a:cubicBezTo>
                <a:lnTo>
                  <a:pt x="83949" y="503685"/>
                </a:lnTo>
                <a:cubicBezTo>
                  <a:pt x="37585" y="503685"/>
                  <a:pt x="0" y="466100"/>
                  <a:pt x="0" y="419736"/>
                </a:cubicBezTo>
                <a:lnTo>
                  <a:pt x="0" y="83949"/>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4598" tIns="104598" rIns="104598" bIns="104598" numCol="1" spcCol="1270" anchor="ctr" anchorCtr="0">
            <a:noAutofit/>
          </a:bodyPr>
          <a:lstStyle/>
          <a:p>
            <a:pPr marL="0" lvl="0" indent="0" algn="l" defTabSz="933450">
              <a:lnSpc>
                <a:spcPct val="90000"/>
              </a:lnSpc>
              <a:spcBef>
                <a:spcPct val="0"/>
              </a:spcBef>
              <a:spcAft>
                <a:spcPct val="35000"/>
              </a:spcAft>
              <a:buNone/>
            </a:pPr>
            <a:r>
              <a:rPr lang="en-US" sz="2100" kern="1200"/>
              <a:t>Better Formatting in Notes / Text / Transcript</a:t>
            </a:r>
          </a:p>
        </p:txBody>
      </p:sp>
      <p:sp>
        <p:nvSpPr>
          <p:cNvPr id="8" name="Freeform: Shape 7">
            <a:extLst>
              <a:ext uri="{FF2B5EF4-FFF2-40B4-BE49-F238E27FC236}">
                <a16:creationId xmlns:a16="http://schemas.microsoft.com/office/drawing/2014/main" id="{58C5B94F-9A82-670E-A270-CF0FDDA847E0}"/>
              </a:ext>
            </a:extLst>
          </p:cNvPr>
          <p:cNvSpPr/>
          <p:nvPr/>
        </p:nvSpPr>
        <p:spPr>
          <a:xfrm>
            <a:off x="228600" y="1824227"/>
            <a:ext cx="5556250" cy="503685"/>
          </a:xfrm>
          <a:custGeom>
            <a:avLst/>
            <a:gdLst>
              <a:gd name="connsiteX0" fmla="*/ 0 w 12053455"/>
              <a:gd name="connsiteY0" fmla="*/ 83949 h 503685"/>
              <a:gd name="connsiteX1" fmla="*/ 83949 w 12053455"/>
              <a:gd name="connsiteY1" fmla="*/ 0 h 503685"/>
              <a:gd name="connsiteX2" fmla="*/ 11969506 w 12053455"/>
              <a:gd name="connsiteY2" fmla="*/ 0 h 503685"/>
              <a:gd name="connsiteX3" fmla="*/ 12053455 w 12053455"/>
              <a:gd name="connsiteY3" fmla="*/ 83949 h 503685"/>
              <a:gd name="connsiteX4" fmla="*/ 12053455 w 12053455"/>
              <a:gd name="connsiteY4" fmla="*/ 419736 h 503685"/>
              <a:gd name="connsiteX5" fmla="*/ 11969506 w 12053455"/>
              <a:gd name="connsiteY5" fmla="*/ 503685 h 503685"/>
              <a:gd name="connsiteX6" fmla="*/ 83949 w 12053455"/>
              <a:gd name="connsiteY6" fmla="*/ 503685 h 503685"/>
              <a:gd name="connsiteX7" fmla="*/ 0 w 12053455"/>
              <a:gd name="connsiteY7" fmla="*/ 419736 h 503685"/>
              <a:gd name="connsiteX8" fmla="*/ 0 w 12053455"/>
              <a:gd name="connsiteY8" fmla="*/ 83949 h 503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53455" h="503685">
                <a:moveTo>
                  <a:pt x="0" y="83949"/>
                </a:moveTo>
                <a:cubicBezTo>
                  <a:pt x="0" y="37585"/>
                  <a:pt x="37585" y="0"/>
                  <a:pt x="83949" y="0"/>
                </a:cubicBezTo>
                <a:lnTo>
                  <a:pt x="11969506" y="0"/>
                </a:lnTo>
                <a:cubicBezTo>
                  <a:pt x="12015870" y="0"/>
                  <a:pt x="12053455" y="37585"/>
                  <a:pt x="12053455" y="83949"/>
                </a:cubicBezTo>
                <a:lnTo>
                  <a:pt x="12053455" y="419736"/>
                </a:lnTo>
                <a:cubicBezTo>
                  <a:pt x="12053455" y="466100"/>
                  <a:pt x="12015870" y="503685"/>
                  <a:pt x="11969506" y="503685"/>
                </a:cubicBezTo>
                <a:lnTo>
                  <a:pt x="83949" y="503685"/>
                </a:lnTo>
                <a:cubicBezTo>
                  <a:pt x="37585" y="503685"/>
                  <a:pt x="0" y="466100"/>
                  <a:pt x="0" y="419736"/>
                </a:cubicBezTo>
                <a:lnTo>
                  <a:pt x="0" y="83949"/>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4598" tIns="104598" rIns="104598" bIns="104598" numCol="1" spcCol="1270" anchor="ctr" anchorCtr="0">
            <a:noAutofit/>
          </a:bodyPr>
          <a:lstStyle/>
          <a:p>
            <a:pPr marL="0" lvl="0" indent="0" algn="l" defTabSz="933450">
              <a:lnSpc>
                <a:spcPct val="90000"/>
              </a:lnSpc>
              <a:spcBef>
                <a:spcPct val="0"/>
              </a:spcBef>
              <a:spcAft>
                <a:spcPct val="35000"/>
              </a:spcAft>
              <a:buNone/>
            </a:pPr>
            <a:r>
              <a:rPr lang="en-US" sz="2100" kern="1200"/>
              <a:t>More Viewing Options (Modes)</a:t>
            </a:r>
          </a:p>
        </p:txBody>
      </p:sp>
      <p:sp>
        <p:nvSpPr>
          <p:cNvPr id="9" name="Rectangle: Rounded Corners 8">
            <a:extLst>
              <a:ext uri="{FF2B5EF4-FFF2-40B4-BE49-F238E27FC236}">
                <a16:creationId xmlns:a16="http://schemas.microsoft.com/office/drawing/2014/main" id="{2B936B8A-B6DF-5AE7-5F10-906039180D22}"/>
              </a:ext>
            </a:extLst>
          </p:cNvPr>
          <p:cNvSpPr/>
          <p:nvPr/>
        </p:nvSpPr>
        <p:spPr>
          <a:xfrm>
            <a:off x="724722" y="2431655"/>
            <a:ext cx="3449686" cy="324581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800" dirty="0"/>
              <a:t>Presentation Mode</a:t>
            </a:r>
          </a:p>
        </p:txBody>
      </p:sp>
      <p:sp>
        <p:nvSpPr>
          <p:cNvPr id="10" name="Rectangle: Rounded Corners 9">
            <a:extLst>
              <a:ext uri="{FF2B5EF4-FFF2-40B4-BE49-F238E27FC236}">
                <a16:creationId xmlns:a16="http://schemas.microsoft.com/office/drawing/2014/main" id="{F4F4FD70-443C-50CC-CA17-A8049E67640D}"/>
              </a:ext>
            </a:extLst>
          </p:cNvPr>
          <p:cNvSpPr/>
          <p:nvPr/>
        </p:nvSpPr>
        <p:spPr>
          <a:xfrm>
            <a:off x="4371157" y="2431656"/>
            <a:ext cx="3449686" cy="3730447"/>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800" dirty="0"/>
              <a:t>Reading Mode</a:t>
            </a:r>
          </a:p>
        </p:txBody>
      </p:sp>
      <p:sp>
        <p:nvSpPr>
          <p:cNvPr id="12" name="Rectangle: Rounded Corners 11">
            <a:extLst>
              <a:ext uri="{FF2B5EF4-FFF2-40B4-BE49-F238E27FC236}">
                <a16:creationId xmlns:a16="http://schemas.microsoft.com/office/drawing/2014/main" id="{6FC44F4B-DBCA-1F6E-3864-92CC6ABF2142}"/>
              </a:ext>
            </a:extLst>
          </p:cNvPr>
          <p:cNvSpPr/>
          <p:nvPr/>
        </p:nvSpPr>
        <p:spPr>
          <a:xfrm>
            <a:off x="8017592" y="2431656"/>
            <a:ext cx="3449686" cy="373044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2800" dirty="0"/>
              <a:t>Video Player Mode</a:t>
            </a:r>
          </a:p>
        </p:txBody>
      </p:sp>
      <p:sp>
        <p:nvSpPr>
          <p:cNvPr id="13" name="Rectangle 12">
            <a:extLst>
              <a:ext uri="{FF2B5EF4-FFF2-40B4-BE49-F238E27FC236}">
                <a16:creationId xmlns:a16="http://schemas.microsoft.com/office/drawing/2014/main" id="{E2AE8803-D3A9-CCB6-8F8D-FA6A83386BC5}"/>
              </a:ext>
            </a:extLst>
          </p:cNvPr>
          <p:cNvSpPr/>
          <p:nvPr/>
        </p:nvSpPr>
        <p:spPr>
          <a:xfrm>
            <a:off x="1019498" y="3509639"/>
            <a:ext cx="2319278" cy="1237925"/>
          </a:xfrm>
          <a:prstGeom prst="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t>Current Slide</a:t>
            </a:r>
          </a:p>
        </p:txBody>
      </p:sp>
      <p:sp>
        <p:nvSpPr>
          <p:cNvPr id="14" name="Rectangle 13">
            <a:extLst>
              <a:ext uri="{FF2B5EF4-FFF2-40B4-BE49-F238E27FC236}">
                <a16:creationId xmlns:a16="http://schemas.microsoft.com/office/drawing/2014/main" id="{2D0CC3AF-BF84-6529-0774-1BAE5C37BA6E}"/>
              </a:ext>
            </a:extLst>
          </p:cNvPr>
          <p:cNvSpPr/>
          <p:nvPr/>
        </p:nvSpPr>
        <p:spPr>
          <a:xfrm>
            <a:off x="3395011" y="3509639"/>
            <a:ext cx="575422" cy="1237925"/>
          </a:xfrm>
          <a:prstGeom prst="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en-US" sz="2400" dirty="0"/>
              <a:t>Notes</a:t>
            </a:r>
          </a:p>
        </p:txBody>
      </p:sp>
      <p:sp>
        <p:nvSpPr>
          <p:cNvPr id="15" name="Rectangle 14">
            <a:extLst>
              <a:ext uri="{FF2B5EF4-FFF2-40B4-BE49-F238E27FC236}">
                <a16:creationId xmlns:a16="http://schemas.microsoft.com/office/drawing/2014/main" id="{201D7DD1-DE1E-B52A-22E2-1889502000DB}"/>
              </a:ext>
            </a:extLst>
          </p:cNvPr>
          <p:cNvSpPr/>
          <p:nvPr/>
        </p:nvSpPr>
        <p:spPr>
          <a:xfrm>
            <a:off x="8597105" y="3507633"/>
            <a:ext cx="2319278" cy="1237925"/>
          </a:xfrm>
          <a:prstGeom prst="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t>Video / </a:t>
            </a:r>
          </a:p>
          <a:p>
            <a:pPr algn="ctr"/>
            <a:r>
              <a:rPr lang="en-US" sz="2400" dirty="0"/>
              <a:t>Current Slide</a:t>
            </a:r>
          </a:p>
        </p:txBody>
      </p:sp>
      <p:sp>
        <p:nvSpPr>
          <p:cNvPr id="16" name="Rectangle 15">
            <a:extLst>
              <a:ext uri="{FF2B5EF4-FFF2-40B4-BE49-F238E27FC236}">
                <a16:creationId xmlns:a16="http://schemas.microsoft.com/office/drawing/2014/main" id="{7BAD5820-FE59-2C95-C349-5EFAD9E05B5B}"/>
              </a:ext>
            </a:extLst>
          </p:cNvPr>
          <p:cNvSpPr/>
          <p:nvPr/>
        </p:nvSpPr>
        <p:spPr>
          <a:xfrm>
            <a:off x="4920487" y="3152935"/>
            <a:ext cx="2319278" cy="296778"/>
          </a:xfrm>
          <a:prstGeom prst="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Article Title</a:t>
            </a:r>
          </a:p>
        </p:txBody>
      </p:sp>
      <p:sp>
        <p:nvSpPr>
          <p:cNvPr id="17" name="Rectangle 16">
            <a:extLst>
              <a:ext uri="{FF2B5EF4-FFF2-40B4-BE49-F238E27FC236}">
                <a16:creationId xmlns:a16="http://schemas.microsoft.com/office/drawing/2014/main" id="{AC772A1B-0D09-5A41-14CA-FCF83D1DC9C8}"/>
              </a:ext>
            </a:extLst>
          </p:cNvPr>
          <p:cNvSpPr/>
          <p:nvPr/>
        </p:nvSpPr>
        <p:spPr>
          <a:xfrm>
            <a:off x="5224746" y="3486520"/>
            <a:ext cx="1742508" cy="797685"/>
          </a:xfrm>
          <a:prstGeom prst="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t>Slide</a:t>
            </a:r>
          </a:p>
        </p:txBody>
      </p:sp>
      <p:sp>
        <p:nvSpPr>
          <p:cNvPr id="18" name="Rectangle 17">
            <a:extLst>
              <a:ext uri="{FF2B5EF4-FFF2-40B4-BE49-F238E27FC236}">
                <a16:creationId xmlns:a16="http://schemas.microsoft.com/office/drawing/2014/main" id="{E844FF2B-67C0-85E0-9270-81A63F8CCA01}"/>
              </a:ext>
            </a:extLst>
          </p:cNvPr>
          <p:cNvSpPr/>
          <p:nvPr/>
        </p:nvSpPr>
        <p:spPr>
          <a:xfrm>
            <a:off x="4936361" y="4312850"/>
            <a:ext cx="2319278" cy="495300"/>
          </a:xfrm>
          <a:prstGeom prst="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Notes</a:t>
            </a:r>
          </a:p>
        </p:txBody>
      </p:sp>
      <p:sp>
        <p:nvSpPr>
          <p:cNvPr id="19" name="Rectangle 18">
            <a:extLst>
              <a:ext uri="{FF2B5EF4-FFF2-40B4-BE49-F238E27FC236}">
                <a16:creationId xmlns:a16="http://schemas.microsoft.com/office/drawing/2014/main" id="{C419370B-7523-77D1-837A-C15789F63220}"/>
              </a:ext>
            </a:extLst>
          </p:cNvPr>
          <p:cNvSpPr/>
          <p:nvPr/>
        </p:nvSpPr>
        <p:spPr>
          <a:xfrm>
            <a:off x="4920487" y="5684910"/>
            <a:ext cx="2319279" cy="298867"/>
          </a:xfrm>
          <a:prstGeom prst="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t>…</a:t>
            </a:r>
          </a:p>
        </p:txBody>
      </p:sp>
      <p:sp>
        <p:nvSpPr>
          <p:cNvPr id="20" name="Rectangle 19">
            <a:extLst>
              <a:ext uri="{FF2B5EF4-FFF2-40B4-BE49-F238E27FC236}">
                <a16:creationId xmlns:a16="http://schemas.microsoft.com/office/drawing/2014/main" id="{83290C1B-9E6B-7E2E-27B2-D464B214E342}"/>
              </a:ext>
            </a:extLst>
          </p:cNvPr>
          <p:cNvSpPr/>
          <p:nvPr/>
        </p:nvSpPr>
        <p:spPr>
          <a:xfrm>
            <a:off x="5224746" y="4845063"/>
            <a:ext cx="1742508" cy="797685"/>
          </a:xfrm>
          <a:prstGeom prst="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t>Slide</a:t>
            </a:r>
          </a:p>
        </p:txBody>
      </p:sp>
      <p:sp>
        <p:nvSpPr>
          <p:cNvPr id="22" name="Rectangle 21">
            <a:extLst>
              <a:ext uri="{FF2B5EF4-FFF2-40B4-BE49-F238E27FC236}">
                <a16:creationId xmlns:a16="http://schemas.microsoft.com/office/drawing/2014/main" id="{330D36ED-0F5F-DB43-972D-B8C79BAF0CD9}"/>
              </a:ext>
            </a:extLst>
          </p:cNvPr>
          <p:cNvSpPr/>
          <p:nvPr/>
        </p:nvSpPr>
        <p:spPr>
          <a:xfrm>
            <a:off x="8597105" y="3148263"/>
            <a:ext cx="2319278" cy="296778"/>
          </a:xfrm>
          <a:prstGeom prst="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Article Title</a:t>
            </a:r>
          </a:p>
        </p:txBody>
      </p:sp>
      <p:sp>
        <p:nvSpPr>
          <p:cNvPr id="23" name="Rectangle 22">
            <a:extLst>
              <a:ext uri="{FF2B5EF4-FFF2-40B4-BE49-F238E27FC236}">
                <a16:creationId xmlns:a16="http://schemas.microsoft.com/office/drawing/2014/main" id="{A00EE3EE-759E-9DBF-DB5B-8B6961EE8A07}"/>
              </a:ext>
            </a:extLst>
          </p:cNvPr>
          <p:cNvSpPr/>
          <p:nvPr/>
        </p:nvSpPr>
        <p:spPr>
          <a:xfrm>
            <a:off x="10073272" y="4810322"/>
            <a:ext cx="843111" cy="445128"/>
          </a:xfrm>
          <a:prstGeom prst="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Slide</a:t>
            </a:r>
          </a:p>
        </p:txBody>
      </p:sp>
      <p:sp>
        <p:nvSpPr>
          <p:cNvPr id="24" name="Rectangle 23">
            <a:extLst>
              <a:ext uri="{FF2B5EF4-FFF2-40B4-BE49-F238E27FC236}">
                <a16:creationId xmlns:a16="http://schemas.microsoft.com/office/drawing/2014/main" id="{C2CDEAFD-6235-1AEC-E4D3-D675253BCC00}"/>
              </a:ext>
            </a:extLst>
          </p:cNvPr>
          <p:cNvSpPr/>
          <p:nvPr/>
        </p:nvSpPr>
        <p:spPr>
          <a:xfrm>
            <a:off x="8597104" y="4808150"/>
            <a:ext cx="1416011" cy="445128"/>
          </a:xfrm>
          <a:prstGeom prst="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Notes</a:t>
            </a:r>
          </a:p>
        </p:txBody>
      </p:sp>
      <p:sp>
        <p:nvSpPr>
          <p:cNvPr id="25" name="Rectangle 24">
            <a:extLst>
              <a:ext uri="{FF2B5EF4-FFF2-40B4-BE49-F238E27FC236}">
                <a16:creationId xmlns:a16="http://schemas.microsoft.com/office/drawing/2014/main" id="{521AC04A-B63A-C1CD-8BA8-BF3A8A3A9AA9}"/>
              </a:ext>
            </a:extLst>
          </p:cNvPr>
          <p:cNvSpPr/>
          <p:nvPr/>
        </p:nvSpPr>
        <p:spPr>
          <a:xfrm>
            <a:off x="10073272" y="5291004"/>
            <a:ext cx="843111" cy="445128"/>
          </a:xfrm>
          <a:prstGeom prst="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Slide</a:t>
            </a:r>
          </a:p>
        </p:txBody>
      </p:sp>
      <p:sp>
        <p:nvSpPr>
          <p:cNvPr id="26" name="Rectangle 25">
            <a:extLst>
              <a:ext uri="{FF2B5EF4-FFF2-40B4-BE49-F238E27FC236}">
                <a16:creationId xmlns:a16="http://schemas.microsoft.com/office/drawing/2014/main" id="{454ABC88-65AC-74A5-0EED-3EC090B1CE4E}"/>
              </a:ext>
            </a:extLst>
          </p:cNvPr>
          <p:cNvSpPr/>
          <p:nvPr/>
        </p:nvSpPr>
        <p:spPr>
          <a:xfrm>
            <a:off x="8597104" y="5288832"/>
            <a:ext cx="1416011" cy="445128"/>
          </a:xfrm>
          <a:prstGeom prst="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Notes</a:t>
            </a:r>
          </a:p>
        </p:txBody>
      </p:sp>
      <p:sp>
        <p:nvSpPr>
          <p:cNvPr id="29" name="Rectangle 28">
            <a:extLst>
              <a:ext uri="{FF2B5EF4-FFF2-40B4-BE49-F238E27FC236}">
                <a16:creationId xmlns:a16="http://schemas.microsoft.com/office/drawing/2014/main" id="{836BD997-4682-CFC0-F7BC-4409AB23542F}"/>
              </a:ext>
            </a:extLst>
          </p:cNvPr>
          <p:cNvSpPr/>
          <p:nvPr/>
        </p:nvSpPr>
        <p:spPr>
          <a:xfrm>
            <a:off x="8597104" y="5783008"/>
            <a:ext cx="2319279" cy="298867"/>
          </a:xfrm>
          <a:prstGeom prst="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t>…</a:t>
            </a:r>
          </a:p>
        </p:txBody>
      </p:sp>
      <p:pic>
        <p:nvPicPr>
          <p:cNvPr id="30" name="Scollbar1" descr="Height, overflow, overflow-y, scroll, scroll bar, scrollbar, vertical icon  - Download on Iconfinder">
            <a:extLst>
              <a:ext uri="{FF2B5EF4-FFF2-40B4-BE49-F238E27FC236}">
                <a16:creationId xmlns:a16="http://schemas.microsoft.com/office/drawing/2014/main" id="{1913C585-A937-7F84-0B56-F3DEA0CC0E25}"/>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027" t="5994" r="38576" b="7327"/>
          <a:stretch/>
        </p:blipFill>
        <p:spPr bwMode="auto">
          <a:xfrm>
            <a:off x="7255639" y="3062037"/>
            <a:ext cx="456604" cy="2970463"/>
          </a:xfrm>
          <a:prstGeom prst="rect">
            <a:avLst/>
          </a:prstGeom>
          <a:noFill/>
          <a:extLst>
            <a:ext uri="{909E8E84-426E-40DD-AFC4-6F175D3DCCD1}">
              <a14:hiddenFill xmlns:a14="http://schemas.microsoft.com/office/drawing/2010/main">
                <a:solidFill>
                  <a:srgbClr val="FFFFFF"/>
                </a:solidFill>
              </a14:hiddenFill>
            </a:ext>
          </a:extLst>
        </p:spPr>
      </p:pic>
      <p:pic>
        <p:nvPicPr>
          <p:cNvPr id="31" name="Scollbar2" descr="Height, overflow, overflow-y, scroll, scroll bar, scrollbar, vertical icon  - Download on Iconfinder">
            <a:extLst>
              <a:ext uri="{FF2B5EF4-FFF2-40B4-BE49-F238E27FC236}">
                <a16:creationId xmlns:a16="http://schemas.microsoft.com/office/drawing/2014/main" id="{8EF2AC2A-8999-CA3C-7346-7BD9AD82AB87}"/>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027" t="5994" r="38576" b="7327"/>
          <a:stretch/>
        </p:blipFill>
        <p:spPr bwMode="auto">
          <a:xfrm>
            <a:off x="10916383" y="4769622"/>
            <a:ext cx="316767" cy="1312253"/>
          </a:xfrm>
          <a:prstGeom prst="rect">
            <a:avLst/>
          </a:prstGeom>
          <a:noFill/>
          <a:extLst>
            <a:ext uri="{909E8E84-426E-40DD-AFC4-6F175D3DCCD1}">
              <a14:hiddenFill xmlns:a14="http://schemas.microsoft.com/office/drawing/2010/main">
                <a:solidFill>
                  <a:srgbClr val="FFFFFF"/>
                </a:solidFill>
              </a14:hiddenFill>
            </a:ext>
          </a:extLst>
        </p:spPr>
      </p:pic>
      <p:sp>
        <p:nvSpPr>
          <p:cNvPr id="32" name="Rectangle: Rounded Corners 31">
            <a:extLst>
              <a:ext uri="{FF2B5EF4-FFF2-40B4-BE49-F238E27FC236}">
                <a16:creationId xmlns:a16="http://schemas.microsoft.com/office/drawing/2014/main" id="{1F5FF39F-F650-D2C2-27DD-6951528D7E15}"/>
              </a:ext>
            </a:extLst>
          </p:cNvPr>
          <p:cNvSpPr/>
          <p:nvPr/>
        </p:nvSpPr>
        <p:spPr>
          <a:xfrm>
            <a:off x="6407150" y="695896"/>
            <a:ext cx="5556250" cy="1632016"/>
          </a:xfrm>
          <a:prstGeom prst="round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600" dirty="0"/>
              <a:t>Fully Automated Service</a:t>
            </a:r>
            <a:endParaRPr lang="en-US" sz="3200" dirty="0"/>
          </a:p>
          <a:p>
            <a:pPr algn="ctr"/>
            <a:r>
              <a:rPr lang="en-US" sz="2800" dirty="0"/>
              <a:t>(Per File or Subscription)</a:t>
            </a:r>
          </a:p>
        </p:txBody>
      </p:sp>
      <p:pic>
        <p:nvPicPr>
          <p:cNvPr id="21" name="Slide5">
            <a:hlinkClick r:id="" action="ppaction://media"/>
            <a:extLst>
              <a:ext uri="{FF2B5EF4-FFF2-40B4-BE49-F238E27FC236}">
                <a16:creationId xmlns:a16="http://schemas.microsoft.com/office/drawing/2014/main" id="{33439F83-5D34-1E97-3DFB-2DF90A6F73DD}"/>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1430000" y="6096000"/>
            <a:ext cx="609600" cy="609600"/>
          </a:xfrm>
          <a:prstGeom prst="rect">
            <a:avLst/>
          </a:prstGeom>
        </p:spPr>
      </p:pic>
    </p:spTree>
    <p:custDataLst>
      <p:tags r:id="rId1"/>
    </p:custDataLst>
    <p:extLst>
      <p:ext uri="{BB962C8B-B14F-4D97-AF65-F5344CB8AC3E}">
        <p14:creationId xmlns:p14="http://schemas.microsoft.com/office/powerpoint/2010/main" val="111312698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advTm="73353">
        <p159:morph option="byObject"/>
      </p:transition>
    </mc:Choice>
    <mc:Fallback>
      <p:transition spd="slow" advTm="73353">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499"/>
                                          </p:stCondLst>
                                        </p:cTn>
                                        <p:tgtEl>
                                          <p:spTgt spid="21"/>
                                        </p:tgtEl>
                                        <p:attrNameLst>
                                          <p:attrName>style.visibility</p:attrName>
                                        </p:attrNameLst>
                                      </p:cBhvr>
                                      <p:to>
                                        <p:strVal val="visible"/>
                                      </p:to>
                                    </p:set>
                                  </p:childTnLst>
                                </p:cTn>
                              </p:par>
                            </p:childTnLst>
                          </p:cTn>
                        </p:par>
                        <p:par>
                          <p:cTn id="7" fill="hold">
                            <p:stCondLst>
                              <p:cond delay="500"/>
                            </p:stCondLst>
                            <p:childTnLst>
                              <p:par>
                                <p:cTn id="8" presetID="1" presetClass="mediacall" presetSubtype="0" fill="hold" nodeType="afterEffect">
                                  <p:stCondLst>
                                    <p:cond delay="0"/>
                                  </p:stCondLst>
                                  <p:childTnLst>
                                    <p:cmd type="call" cmd="playFrom(0.0)">
                                      <p:cBhvr>
                                        <p:cTn id="9" dur="1" fill="hold"/>
                                        <p:tgtEl>
                                          <p:spTgt spid="21"/>
                                        </p:tgtEl>
                                      </p:cBhvr>
                                    </p:cmd>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500"/>
                                        <p:tgtEl>
                                          <p:spTgt spid="6"/>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8"/>
                                        </p:tgtEl>
                                        <p:attrNameLst>
                                          <p:attrName>style.visibility</p:attrName>
                                        </p:attrNameLst>
                                      </p:cBhvr>
                                      <p:to>
                                        <p:strVal val="visible"/>
                                      </p:to>
                                    </p:set>
                                    <p:animEffect transition="in" filter="fade">
                                      <p:cBhvr>
                                        <p:cTn id="24" dur="500"/>
                                        <p:tgtEl>
                                          <p:spTgt spid="8"/>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9"/>
                                        </p:tgtEl>
                                        <p:attrNameLst>
                                          <p:attrName>style.visibility</p:attrName>
                                        </p:attrNameLst>
                                      </p:cBhvr>
                                      <p:to>
                                        <p:strVal val="visible"/>
                                      </p:to>
                                    </p:set>
                                    <p:animEffect transition="in" filter="fade">
                                      <p:cBhvr>
                                        <p:cTn id="29" dur="500"/>
                                        <p:tgtEl>
                                          <p:spTgt spid="9"/>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fade">
                                      <p:cBhvr>
                                        <p:cTn id="35" dur="500"/>
                                        <p:tgtEl>
                                          <p:spTgt spid="14"/>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10"/>
                                        </p:tgtEl>
                                        <p:attrNameLst>
                                          <p:attrName>style.visibility</p:attrName>
                                        </p:attrNameLst>
                                      </p:cBhvr>
                                      <p:to>
                                        <p:strVal val="visible"/>
                                      </p:to>
                                    </p:set>
                                    <p:animEffect transition="in" filter="fade">
                                      <p:cBhvr>
                                        <p:cTn id="40" dur="500"/>
                                        <p:tgtEl>
                                          <p:spTgt spid="10"/>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6"/>
                                        </p:tgtEl>
                                        <p:attrNameLst>
                                          <p:attrName>style.visibility</p:attrName>
                                        </p:attrNameLst>
                                      </p:cBhvr>
                                      <p:to>
                                        <p:strVal val="visible"/>
                                      </p:to>
                                    </p:set>
                                    <p:animEffect transition="in" filter="fade">
                                      <p:cBhvr>
                                        <p:cTn id="43" dur="500"/>
                                        <p:tgtEl>
                                          <p:spTgt spid="16"/>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fade">
                                      <p:cBhvr>
                                        <p:cTn id="46" dur="500"/>
                                        <p:tgtEl>
                                          <p:spTgt spid="17"/>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8"/>
                                        </p:tgtEl>
                                        <p:attrNameLst>
                                          <p:attrName>style.visibility</p:attrName>
                                        </p:attrNameLst>
                                      </p:cBhvr>
                                      <p:to>
                                        <p:strVal val="visible"/>
                                      </p:to>
                                    </p:set>
                                    <p:animEffect transition="in" filter="fade">
                                      <p:cBhvr>
                                        <p:cTn id="49" dur="500"/>
                                        <p:tgtEl>
                                          <p:spTgt spid="18"/>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9"/>
                                        </p:tgtEl>
                                        <p:attrNameLst>
                                          <p:attrName>style.visibility</p:attrName>
                                        </p:attrNameLst>
                                      </p:cBhvr>
                                      <p:to>
                                        <p:strVal val="visible"/>
                                      </p:to>
                                    </p:set>
                                    <p:animEffect transition="in" filter="fade">
                                      <p:cBhvr>
                                        <p:cTn id="52" dur="500"/>
                                        <p:tgtEl>
                                          <p:spTgt spid="19"/>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20"/>
                                        </p:tgtEl>
                                        <p:attrNameLst>
                                          <p:attrName>style.visibility</p:attrName>
                                        </p:attrNameLst>
                                      </p:cBhvr>
                                      <p:to>
                                        <p:strVal val="visible"/>
                                      </p:to>
                                    </p:set>
                                    <p:animEffect transition="in" filter="fade">
                                      <p:cBhvr>
                                        <p:cTn id="55" dur="500"/>
                                        <p:tgtEl>
                                          <p:spTgt spid="20"/>
                                        </p:tgtEl>
                                      </p:cBhvr>
                                    </p:animEffect>
                                  </p:childTnLst>
                                </p:cTn>
                              </p:par>
                              <p:par>
                                <p:cTn id="56" presetID="10" presetClass="entr" presetSubtype="0" fill="hold" nodeType="withEffect">
                                  <p:stCondLst>
                                    <p:cond delay="0"/>
                                  </p:stCondLst>
                                  <p:childTnLst>
                                    <p:set>
                                      <p:cBhvr>
                                        <p:cTn id="57" dur="1" fill="hold">
                                          <p:stCondLst>
                                            <p:cond delay="0"/>
                                          </p:stCondLst>
                                        </p:cTn>
                                        <p:tgtEl>
                                          <p:spTgt spid="30"/>
                                        </p:tgtEl>
                                        <p:attrNameLst>
                                          <p:attrName>style.visibility</p:attrName>
                                        </p:attrNameLst>
                                      </p:cBhvr>
                                      <p:to>
                                        <p:strVal val="visible"/>
                                      </p:to>
                                    </p:set>
                                    <p:animEffect transition="in" filter="fade">
                                      <p:cBhvr>
                                        <p:cTn id="58" dur="500"/>
                                        <p:tgtEl>
                                          <p:spTgt spid="30"/>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12"/>
                                        </p:tgtEl>
                                        <p:attrNameLst>
                                          <p:attrName>style.visibility</p:attrName>
                                        </p:attrNameLst>
                                      </p:cBhvr>
                                      <p:to>
                                        <p:strVal val="visible"/>
                                      </p:to>
                                    </p:set>
                                    <p:animEffect transition="in" filter="fade">
                                      <p:cBhvr>
                                        <p:cTn id="63" dur="500"/>
                                        <p:tgtEl>
                                          <p:spTgt spid="12"/>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15"/>
                                        </p:tgtEl>
                                        <p:attrNameLst>
                                          <p:attrName>style.visibility</p:attrName>
                                        </p:attrNameLst>
                                      </p:cBhvr>
                                      <p:to>
                                        <p:strVal val="visible"/>
                                      </p:to>
                                    </p:set>
                                    <p:animEffect transition="in" filter="fade">
                                      <p:cBhvr>
                                        <p:cTn id="66" dur="500"/>
                                        <p:tgtEl>
                                          <p:spTgt spid="15"/>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22"/>
                                        </p:tgtEl>
                                        <p:attrNameLst>
                                          <p:attrName>style.visibility</p:attrName>
                                        </p:attrNameLst>
                                      </p:cBhvr>
                                      <p:to>
                                        <p:strVal val="visible"/>
                                      </p:to>
                                    </p:set>
                                    <p:animEffect transition="in" filter="fade">
                                      <p:cBhvr>
                                        <p:cTn id="69" dur="500"/>
                                        <p:tgtEl>
                                          <p:spTgt spid="22"/>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23"/>
                                        </p:tgtEl>
                                        <p:attrNameLst>
                                          <p:attrName>style.visibility</p:attrName>
                                        </p:attrNameLst>
                                      </p:cBhvr>
                                      <p:to>
                                        <p:strVal val="visible"/>
                                      </p:to>
                                    </p:set>
                                    <p:animEffect transition="in" filter="fade">
                                      <p:cBhvr>
                                        <p:cTn id="72" dur="500"/>
                                        <p:tgtEl>
                                          <p:spTgt spid="23"/>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24"/>
                                        </p:tgtEl>
                                        <p:attrNameLst>
                                          <p:attrName>style.visibility</p:attrName>
                                        </p:attrNameLst>
                                      </p:cBhvr>
                                      <p:to>
                                        <p:strVal val="visible"/>
                                      </p:to>
                                    </p:set>
                                    <p:animEffect transition="in" filter="fade">
                                      <p:cBhvr>
                                        <p:cTn id="75" dur="500"/>
                                        <p:tgtEl>
                                          <p:spTgt spid="24"/>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25"/>
                                        </p:tgtEl>
                                        <p:attrNameLst>
                                          <p:attrName>style.visibility</p:attrName>
                                        </p:attrNameLst>
                                      </p:cBhvr>
                                      <p:to>
                                        <p:strVal val="visible"/>
                                      </p:to>
                                    </p:set>
                                    <p:animEffect transition="in" filter="fade">
                                      <p:cBhvr>
                                        <p:cTn id="78" dur="500"/>
                                        <p:tgtEl>
                                          <p:spTgt spid="25"/>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6"/>
                                        </p:tgtEl>
                                        <p:attrNameLst>
                                          <p:attrName>style.visibility</p:attrName>
                                        </p:attrNameLst>
                                      </p:cBhvr>
                                      <p:to>
                                        <p:strVal val="visible"/>
                                      </p:to>
                                    </p:set>
                                    <p:animEffect transition="in" filter="fade">
                                      <p:cBhvr>
                                        <p:cTn id="81" dur="500"/>
                                        <p:tgtEl>
                                          <p:spTgt spid="26"/>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29"/>
                                        </p:tgtEl>
                                        <p:attrNameLst>
                                          <p:attrName>style.visibility</p:attrName>
                                        </p:attrNameLst>
                                      </p:cBhvr>
                                      <p:to>
                                        <p:strVal val="visible"/>
                                      </p:to>
                                    </p:set>
                                    <p:animEffect transition="in" filter="fade">
                                      <p:cBhvr>
                                        <p:cTn id="84" dur="500"/>
                                        <p:tgtEl>
                                          <p:spTgt spid="29"/>
                                        </p:tgtEl>
                                      </p:cBhvr>
                                    </p:animEffect>
                                  </p:childTnLst>
                                </p:cTn>
                              </p:par>
                              <p:par>
                                <p:cTn id="85" presetID="10" presetClass="entr" presetSubtype="0" fill="hold" nodeType="withEffect">
                                  <p:stCondLst>
                                    <p:cond delay="0"/>
                                  </p:stCondLst>
                                  <p:childTnLst>
                                    <p:set>
                                      <p:cBhvr>
                                        <p:cTn id="86" dur="1" fill="hold">
                                          <p:stCondLst>
                                            <p:cond delay="0"/>
                                          </p:stCondLst>
                                        </p:cTn>
                                        <p:tgtEl>
                                          <p:spTgt spid="31"/>
                                        </p:tgtEl>
                                        <p:attrNameLst>
                                          <p:attrName>style.visibility</p:attrName>
                                        </p:attrNameLst>
                                      </p:cBhvr>
                                      <p:to>
                                        <p:strVal val="visible"/>
                                      </p:to>
                                    </p:set>
                                    <p:animEffect transition="in" filter="fade">
                                      <p:cBhvr>
                                        <p:cTn id="87" dur="500"/>
                                        <p:tgtEl>
                                          <p:spTgt spid="31"/>
                                        </p:tgtEl>
                                      </p:cBhvr>
                                    </p:animEffect>
                                  </p:childTnLst>
                                </p:cTn>
                              </p:par>
                            </p:childTnLst>
                          </p:cTn>
                        </p:par>
                      </p:childTnLst>
                    </p:cTn>
                  </p:par>
                  <p:par>
                    <p:cTn id="88" fill="hold">
                      <p:stCondLst>
                        <p:cond delay="indefinite"/>
                      </p:stCondLst>
                      <p:childTnLst>
                        <p:par>
                          <p:cTn id="89" fill="hold">
                            <p:stCondLst>
                              <p:cond delay="0"/>
                            </p:stCondLst>
                            <p:childTnLst>
                              <p:par>
                                <p:cTn id="90" presetID="10" presetClass="entr" presetSubtype="0" fill="hold" grpId="0" nodeType="clickEffect">
                                  <p:stCondLst>
                                    <p:cond delay="0"/>
                                  </p:stCondLst>
                                  <p:childTnLst>
                                    <p:set>
                                      <p:cBhvr>
                                        <p:cTn id="91" dur="1" fill="hold">
                                          <p:stCondLst>
                                            <p:cond delay="0"/>
                                          </p:stCondLst>
                                        </p:cTn>
                                        <p:tgtEl>
                                          <p:spTgt spid="32"/>
                                        </p:tgtEl>
                                        <p:attrNameLst>
                                          <p:attrName>style.visibility</p:attrName>
                                        </p:attrNameLst>
                                      </p:cBhvr>
                                      <p:to>
                                        <p:strVal val="visible"/>
                                      </p:to>
                                    </p:set>
                                    <p:animEffect transition="in" filter="fade">
                                      <p:cBhvr>
                                        <p:cTn id="92"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93" fill="hold" display="0">
                  <p:stCondLst>
                    <p:cond delay="indefinite"/>
                  </p:stCondLst>
                  <p:endCondLst>
                    <p:cond evt="onStopAudio" delay="0">
                      <p:tgtEl>
                        <p:sldTgt/>
                      </p:tgtEl>
                    </p:cond>
                  </p:endCondLst>
                </p:cTn>
                <p:tgtEl>
                  <p:spTgt spid="21"/>
                </p:tgtEl>
              </p:cMediaNode>
            </p:audio>
          </p:childTnLst>
        </p:cTn>
      </p:par>
    </p:tnLst>
    <p:bldLst>
      <p:bldP spid="6" grpId="0" animBg="1" autoUpdateAnimBg="0"/>
      <p:bldP spid="7" grpId="0" animBg="1" autoUpdateAnimBg="0"/>
      <p:bldP spid="8" grpId="0" animBg="1" autoUpdateAnimBg="0"/>
      <p:bldP spid="9" grpId="0" animBg="1" autoUpdateAnimBg="0"/>
      <p:bldP spid="10" grpId="0" animBg="1" autoUpdateAnimBg="0"/>
      <p:bldP spid="12" grpId="0" animBg="1" autoUpdateAnimBg="0"/>
      <p:bldP spid="13" grpId="0" animBg="1" autoUpdateAnimBg="0"/>
      <p:bldP spid="14" grpId="0" animBg="1" autoUpdateAnimBg="0"/>
      <p:bldP spid="15" grpId="0" animBg="1" autoUpdateAnimBg="0"/>
      <p:bldP spid="16" grpId="0" animBg="1" autoUpdateAnimBg="0"/>
      <p:bldP spid="17" grpId="0" animBg="1" autoUpdateAnimBg="0"/>
      <p:bldP spid="18" grpId="0" animBg="1" autoUpdateAnimBg="0"/>
      <p:bldP spid="19" grpId="0" animBg="1" autoUpdateAnimBg="0"/>
      <p:bldP spid="20" grpId="0" animBg="1" autoUpdateAnimBg="0"/>
      <p:bldP spid="22" grpId="0" animBg="1" autoUpdateAnimBg="0"/>
      <p:bldP spid="23" grpId="0" animBg="1" autoUpdateAnimBg="0"/>
      <p:bldP spid="24" grpId="0" animBg="1" autoUpdateAnimBg="0"/>
      <p:bldP spid="25" grpId="0" animBg="1" autoUpdateAnimBg="0"/>
      <p:bldP spid="26" grpId="0" animBg="1" autoUpdateAnimBg="0"/>
      <p:bldP spid="29" grpId="0" animBg="1" autoUpdateAnimBg="0"/>
      <p:bldP spid="32" grpId="0" animBg="1" autoUpdateAnimBg="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Placeholder">
            <a:extLst>
              <a:ext uri="{FF2B5EF4-FFF2-40B4-BE49-F238E27FC236}">
                <a16:creationId xmlns:a16="http://schemas.microsoft.com/office/drawing/2014/main" id="{08E0EA74-660C-F1E7-9549-EF476072E5ED}"/>
              </a:ext>
            </a:extLst>
          </p:cNvPr>
          <p:cNvSpPr>
            <a:spLocks noGrp="1"/>
          </p:cNvSpPr>
          <p:nvPr>
            <p:ph type="title"/>
          </p:nvPr>
        </p:nvSpPr>
        <p:spPr/>
        <p:txBody>
          <a:bodyPr>
            <a:normAutofit fontScale="90000"/>
          </a:bodyPr>
          <a:lstStyle/>
          <a:p>
            <a:r>
              <a:rPr lang="en-US" dirty="0"/>
              <a:t>Options</a:t>
            </a:r>
          </a:p>
        </p:txBody>
      </p:sp>
      <p:sp>
        <p:nvSpPr>
          <p:cNvPr id="3" name="SectionNameTextPlaceholder">
            <a:extLst>
              <a:ext uri="{FF2B5EF4-FFF2-40B4-BE49-F238E27FC236}">
                <a16:creationId xmlns:a16="http://schemas.microsoft.com/office/drawing/2014/main" id="{93EFC8C2-816B-B012-B76B-9AB2EF74018B}"/>
              </a:ext>
            </a:extLst>
          </p:cNvPr>
          <p:cNvSpPr>
            <a:spLocks noGrp="1"/>
          </p:cNvSpPr>
          <p:nvPr>
            <p:ph type="body" sz="quarter" idx="3"/>
          </p:nvPr>
        </p:nvSpPr>
        <p:spPr/>
        <p:txBody>
          <a:bodyPr/>
          <a:lstStyle/>
          <a:p>
            <a:r>
              <a:rPr lang="en-US" dirty="0"/>
              <a:t>Options</a:t>
            </a:r>
          </a:p>
        </p:txBody>
      </p:sp>
      <p:sp>
        <p:nvSpPr>
          <p:cNvPr id="13" name="Freeform: Shape 12">
            <a:extLst>
              <a:ext uri="{FF2B5EF4-FFF2-40B4-BE49-F238E27FC236}">
                <a16:creationId xmlns:a16="http://schemas.microsoft.com/office/drawing/2014/main" id="{A2CA8971-563D-57A6-9E33-2BEC4B4A457E}"/>
              </a:ext>
            </a:extLst>
          </p:cNvPr>
          <p:cNvSpPr/>
          <p:nvPr/>
        </p:nvSpPr>
        <p:spPr>
          <a:xfrm>
            <a:off x="3932567" y="997868"/>
            <a:ext cx="7714212" cy="1381701"/>
          </a:xfrm>
          <a:custGeom>
            <a:avLst/>
            <a:gdLst>
              <a:gd name="connsiteX0" fmla="*/ 248133 w 1488768"/>
              <a:gd name="connsiteY0" fmla="*/ 0 h 7714211"/>
              <a:gd name="connsiteX1" fmla="*/ 1240635 w 1488768"/>
              <a:gd name="connsiteY1" fmla="*/ 0 h 7714211"/>
              <a:gd name="connsiteX2" fmla="*/ 1488768 w 1488768"/>
              <a:gd name="connsiteY2" fmla="*/ 248133 h 7714211"/>
              <a:gd name="connsiteX3" fmla="*/ 1488768 w 1488768"/>
              <a:gd name="connsiteY3" fmla="*/ 7714211 h 7714211"/>
              <a:gd name="connsiteX4" fmla="*/ 1488768 w 1488768"/>
              <a:gd name="connsiteY4" fmla="*/ 7714211 h 7714211"/>
              <a:gd name="connsiteX5" fmla="*/ 0 w 1488768"/>
              <a:gd name="connsiteY5" fmla="*/ 7714211 h 7714211"/>
              <a:gd name="connsiteX6" fmla="*/ 0 w 1488768"/>
              <a:gd name="connsiteY6" fmla="*/ 7714211 h 7714211"/>
              <a:gd name="connsiteX7" fmla="*/ 0 w 1488768"/>
              <a:gd name="connsiteY7" fmla="*/ 248133 h 7714211"/>
              <a:gd name="connsiteX8" fmla="*/ 248133 w 1488768"/>
              <a:gd name="connsiteY8" fmla="*/ 0 h 7714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88768" h="7714211">
                <a:moveTo>
                  <a:pt x="1488768" y="1285729"/>
                </a:moveTo>
                <a:lnTo>
                  <a:pt x="1488768" y="6428482"/>
                </a:lnTo>
                <a:cubicBezTo>
                  <a:pt x="1488768" y="7138569"/>
                  <a:pt x="1467328" y="7714208"/>
                  <a:pt x="1440881" y="7714208"/>
                </a:cubicBezTo>
                <a:lnTo>
                  <a:pt x="0" y="7714208"/>
                </a:lnTo>
                <a:lnTo>
                  <a:pt x="0" y="7714208"/>
                </a:lnTo>
                <a:lnTo>
                  <a:pt x="0" y="3"/>
                </a:lnTo>
                <a:lnTo>
                  <a:pt x="0" y="3"/>
                </a:lnTo>
                <a:lnTo>
                  <a:pt x="1440881" y="3"/>
                </a:lnTo>
                <a:cubicBezTo>
                  <a:pt x="1467328" y="3"/>
                  <a:pt x="1488768" y="575642"/>
                  <a:pt x="1488768" y="1285729"/>
                </a:cubicBez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9061" tIns="122206" rIns="171736" bIns="122207" numCol="1" spcCol="1270" anchor="ctr" anchorCtr="0">
            <a:noAutofit/>
          </a:bodyPr>
          <a:lstStyle/>
          <a:p>
            <a:pPr marL="228600" lvl="1" indent="-228600" defTabSz="1155700">
              <a:lnSpc>
                <a:spcPct val="90000"/>
              </a:lnSpc>
              <a:spcBef>
                <a:spcPct val="0"/>
              </a:spcBef>
              <a:spcAft>
                <a:spcPct val="15000"/>
              </a:spcAft>
              <a:buChar char="•"/>
            </a:pPr>
            <a:r>
              <a:rPr lang="en-US" sz="2600" dirty="0"/>
              <a:t>Process a Handful of Presentations</a:t>
            </a:r>
            <a:endParaRPr lang="en-US" sz="2600" kern="1200" dirty="0"/>
          </a:p>
          <a:p>
            <a:pPr marL="228600" lvl="1" indent="-228600" algn="l" defTabSz="1155700">
              <a:lnSpc>
                <a:spcPct val="90000"/>
              </a:lnSpc>
              <a:spcBef>
                <a:spcPct val="0"/>
              </a:spcBef>
              <a:spcAft>
                <a:spcPct val="15000"/>
              </a:spcAft>
              <a:buChar char="•"/>
            </a:pPr>
            <a:r>
              <a:rPr lang="en-US" sz="2600" kern="1200" dirty="0"/>
              <a:t>$,$$$</a:t>
            </a:r>
          </a:p>
          <a:p>
            <a:pPr marL="228600" lvl="1" indent="-228600" algn="l" defTabSz="1155700">
              <a:lnSpc>
                <a:spcPct val="90000"/>
              </a:lnSpc>
              <a:spcBef>
                <a:spcPct val="0"/>
              </a:spcBef>
              <a:spcAft>
                <a:spcPct val="15000"/>
              </a:spcAft>
              <a:buChar char="•"/>
            </a:pPr>
            <a:r>
              <a:rPr lang="en-US" sz="2600" dirty="0"/>
              <a:t>1-4 days</a:t>
            </a:r>
            <a:endParaRPr lang="en-US" sz="2600" kern="1200" dirty="0"/>
          </a:p>
        </p:txBody>
      </p:sp>
      <p:sp>
        <p:nvSpPr>
          <p:cNvPr id="14" name="Freeform: Shape 13">
            <a:extLst>
              <a:ext uri="{FF2B5EF4-FFF2-40B4-BE49-F238E27FC236}">
                <a16:creationId xmlns:a16="http://schemas.microsoft.com/office/drawing/2014/main" id="{77BC925A-9DB6-44EE-450C-DD83C8FD63AF}"/>
              </a:ext>
            </a:extLst>
          </p:cNvPr>
          <p:cNvSpPr/>
          <p:nvPr/>
        </p:nvSpPr>
        <p:spPr>
          <a:xfrm>
            <a:off x="535981" y="811771"/>
            <a:ext cx="3396586" cy="1727125"/>
          </a:xfrm>
          <a:custGeom>
            <a:avLst/>
            <a:gdLst>
              <a:gd name="connsiteX0" fmla="*/ 0 w 3396586"/>
              <a:gd name="connsiteY0" fmla="*/ 310166 h 1860960"/>
              <a:gd name="connsiteX1" fmla="*/ 310166 w 3396586"/>
              <a:gd name="connsiteY1" fmla="*/ 0 h 1860960"/>
              <a:gd name="connsiteX2" fmla="*/ 3086420 w 3396586"/>
              <a:gd name="connsiteY2" fmla="*/ 0 h 1860960"/>
              <a:gd name="connsiteX3" fmla="*/ 3396586 w 3396586"/>
              <a:gd name="connsiteY3" fmla="*/ 310166 h 1860960"/>
              <a:gd name="connsiteX4" fmla="*/ 3396586 w 3396586"/>
              <a:gd name="connsiteY4" fmla="*/ 1550794 h 1860960"/>
              <a:gd name="connsiteX5" fmla="*/ 3086420 w 3396586"/>
              <a:gd name="connsiteY5" fmla="*/ 1860960 h 1860960"/>
              <a:gd name="connsiteX6" fmla="*/ 310166 w 3396586"/>
              <a:gd name="connsiteY6" fmla="*/ 1860960 h 1860960"/>
              <a:gd name="connsiteX7" fmla="*/ 0 w 3396586"/>
              <a:gd name="connsiteY7" fmla="*/ 1550794 h 1860960"/>
              <a:gd name="connsiteX8" fmla="*/ 0 w 3396586"/>
              <a:gd name="connsiteY8" fmla="*/ 310166 h 186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96586" h="1860960">
                <a:moveTo>
                  <a:pt x="0" y="310166"/>
                </a:moveTo>
                <a:cubicBezTo>
                  <a:pt x="0" y="138866"/>
                  <a:pt x="138866" y="0"/>
                  <a:pt x="310166" y="0"/>
                </a:cubicBezTo>
                <a:lnTo>
                  <a:pt x="3086420" y="0"/>
                </a:lnTo>
                <a:cubicBezTo>
                  <a:pt x="3257720" y="0"/>
                  <a:pt x="3396586" y="138866"/>
                  <a:pt x="3396586" y="310166"/>
                </a:cubicBezTo>
                <a:lnTo>
                  <a:pt x="3396586" y="1550794"/>
                </a:lnTo>
                <a:cubicBezTo>
                  <a:pt x="3396586" y="1722094"/>
                  <a:pt x="3257720" y="1860960"/>
                  <a:pt x="3086420" y="1860960"/>
                </a:cubicBezTo>
                <a:lnTo>
                  <a:pt x="310166" y="1860960"/>
                </a:lnTo>
                <a:cubicBezTo>
                  <a:pt x="138866" y="1860960"/>
                  <a:pt x="0" y="1722094"/>
                  <a:pt x="0" y="1550794"/>
                </a:cubicBezTo>
                <a:lnTo>
                  <a:pt x="0" y="310166"/>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11825" tIns="201335" rIns="311825" bIns="201335" numCol="1" spcCol="1270" anchor="ctr" anchorCtr="0">
            <a:noAutofit/>
          </a:bodyPr>
          <a:lstStyle/>
          <a:p>
            <a:pPr lvl="0" algn="ctr" defTabSz="2578100">
              <a:lnSpc>
                <a:spcPct val="90000"/>
              </a:lnSpc>
              <a:spcBef>
                <a:spcPct val="0"/>
              </a:spcBef>
              <a:spcAft>
                <a:spcPct val="35000"/>
              </a:spcAft>
            </a:pPr>
            <a:r>
              <a:rPr lang="en-US" sz="4800" dirty="0"/>
              <a:t>Conversion</a:t>
            </a:r>
            <a:endParaRPr lang="en-US" sz="4800" kern="1200" dirty="0"/>
          </a:p>
        </p:txBody>
      </p:sp>
      <p:sp>
        <p:nvSpPr>
          <p:cNvPr id="15" name="Freeform: Shape 14">
            <a:extLst>
              <a:ext uri="{FF2B5EF4-FFF2-40B4-BE49-F238E27FC236}">
                <a16:creationId xmlns:a16="http://schemas.microsoft.com/office/drawing/2014/main" id="{39778D51-D229-56DC-095E-3DA028E52072}"/>
              </a:ext>
            </a:extLst>
          </p:cNvPr>
          <p:cNvSpPr/>
          <p:nvPr/>
        </p:nvSpPr>
        <p:spPr>
          <a:xfrm>
            <a:off x="3932567" y="2832608"/>
            <a:ext cx="7714212" cy="1381701"/>
          </a:xfrm>
          <a:custGeom>
            <a:avLst/>
            <a:gdLst>
              <a:gd name="connsiteX0" fmla="*/ 248133 w 1488768"/>
              <a:gd name="connsiteY0" fmla="*/ 0 h 7714211"/>
              <a:gd name="connsiteX1" fmla="*/ 1240635 w 1488768"/>
              <a:gd name="connsiteY1" fmla="*/ 0 h 7714211"/>
              <a:gd name="connsiteX2" fmla="*/ 1488768 w 1488768"/>
              <a:gd name="connsiteY2" fmla="*/ 248133 h 7714211"/>
              <a:gd name="connsiteX3" fmla="*/ 1488768 w 1488768"/>
              <a:gd name="connsiteY3" fmla="*/ 7714211 h 7714211"/>
              <a:gd name="connsiteX4" fmla="*/ 1488768 w 1488768"/>
              <a:gd name="connsiteY4" fmla="*/ 7714211 h 7714211"/>
              <a:gd name="connsiteX5" fmla="*/ 0 w 1488768"/>
              <a:gd name="connsiteY5" fmla="*/ 7714211 h 7714211"/>
              <a:gd name="connsiteX6" fmla="*/ 0 w 1488768"/>
              <a:gd name="connsiteY6" fmla="*/ 7714211 h 7714211"/>
              <a:gd name="connsiteX7" fmla="*/ 0 w 1488768"/>
              <a:gd name="connsiteY7" fmla="*/ 248133 h 7714211"/>
              <a:gd name="connsiteX8" fmla="*/ 248133 w 1488768"/>
              <a:gd name="connsiteY8" fmla="*/ 0 h 7714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88768" h="7714211">
                <a:moveTo>
                  <a:pt x="1488768" y="1285729"/>
                </a:moveTo>
                <a:lnTo>
                  <a:pt x="1488768" y="6428482"/>
                </a:lnTo>
                <a:cubicBezTo>
                  <a:pt x="1488768" y="7138569"/>
                  <a:pt x="1467328" y="7714208"/>
                  <a:pt x="1440881" y="7714208"/>
                </a:cubicBezTo>
                <a:lnTo>
                  <a:pt x="0" y="7714208"/>
                </a:lnTo>
                <a:lnTo>
                  <a:pt x="0" y="7714208"/>
                </a:lnTo>
                <a:lnTo>
                  <a:pt x="0" y="3"/>
                </a:lnTo>
                <a:lnTo>
                  <a:pt x="0" y="3"/>
                </a:lnTo>
                <a:lnTo>
                  <a:pt x="1440881" y="3"/>
                </a:lnTo>
                <a:cubicBezTo>
                  <a:pt x="1467328" y="3"/>
                  <a:pt x="1488768" y="575642"/>
                  <a:pt x="1488768" y="1285729"/>
                </a:cubicBez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9061" tIns="122206" rIns="171736" bIns="122207" numCol="1" spcCol="1270" anchor="ctr" anchorCtr="0">
            <a:noAutofit/>
          </a:bodyPr>
          <a:lstStyle/>
          <a:p>
            <a:pPr marL="228600" lvl="1" indent="-228600" algn="l" defTabSz="1155700">
              <a:lnSpc>
                <a:spcPct val="90000"/>
              </a:lnSpc>
              <a:spcBef>
                <a:spcPct val="0"/>
              </a:spcBef>
              <a:spcAft>
                <a:spcPct val="15000"/>
              </a:spcAft>
              <a:buChar char="•"/>
            </a:pPr>
            <a:r>
              <a:rPr lang="en-US" sz="2600" dirty="0"/>
              <a:t>Process and Deploy</a:t>
            </a:r>
            <a:endParaRPr lang="en-US" sz="2600" kern="1200" dirty="0"/>
          </a:p>
          <a:p>
            <a:pPr marL="228600" lvl="1" indent="-228600" algn="l" defTabSz="1155700">
              <a:lnSpc>
                <a:spcPct val="90000"/>
              </a:lnSpc>
              <a:spcBef>
                <a:spcPct val="0"/>
              </a:spcBef>
              <a:spcAft>
                <a:spcPct val="15000"/>
              </a:spcAft>
              <a:buChar char="•"/>
            </a:pPr>
            <a:r>
              <a:rPr lang="en-US" sz="2600" kern="1200" dirty="0"/>
              <a:t>$$,$$$</a:t>
            </a:r>
          </a:p>
          <a:p>
            <a:pPr marL="228600" lvl="1" indent="-228600" algn="l" defTabSz="1155700">
              <a:lnSpc>
                <a:spcPct val="90000"/>
              </a:lnSpc>
              <a:spcBef>
                <a:spcPct val="0"/>
              </a:spcBef>
              <a:spcAft>
                <a:spcPct val="15000"/>
              </a:spcAft>
              <a:buChar char="•"/>
            </a:pPr>
            <a:r>
              <a:rPr lang="en-US" sz="2600" dirty="0"/>
              <a:t>4-12 weeks</a:t>
            </a:r>
            <a:endParaRPr lang="en-US" sz="2600" kern="1200" dirty="0"/>
          </a:p>
        </p:txBody>
      </p:sp>
      <p:sp>
        <p:nvSpPr>
          <p:cNvPr id="16" name="Freeform: Shape 15">
            <a:extLst>
              <a:ext uri="{FF2B5EF4-FFF2-40B4-BE49-F238E27FC236}">
                <a16:creationId xmlns:a16="http://schemas.microsoft.com/office/drawing/2014/main" id="{14ED5C52-6D46-2430-59AF-A4F8FDD3642E}"/>
              </a:ext>
            </a:extLst>
          </p:cNvPr>
          <p:cNvSpPr/>
          <p:nvPr/>
        </p:nvSpPr>
        <p:spPr>
          <a:xfrm>
            <a:off x="535981" y="2646511"/>
            <a:ext cx="3396586" cy="1727125"/>
          </a:xfrm>
          <a:custGeom>
            <a:avLst/>
            <a:gdLst>
              <a:gd name="connsiteX0" fmla="*/ 0 w 3396586"/>
              <a:gd name="connsiteY0" fmla="*/ 310166 h 1860960"/>
              <a:gd name="connsiteX1" fmla="*/ 310166 w 3396586"/>
              <a:gd name="connsiteY1" fmla="*/ 0 h 1860960"/>
              <a:gd name="connsiteX2" fmla="*/ 3086420 w 3396586"/>
              <a:gd name="connsiteY2" fmla="*/ 0 h 1860960"/>
              <a:gd name="connsiteX3" fmla="*/ 3396586 w 3396586"/>
              <a:gd name="connsiteY3" fmla="*/ 310166 h 1860960"/>
              <a:gd name="connsiteX4" fmla="*/ 3396586 w 3396586"/>
              <a:gd name="connsiteY4" fmla="*/ 1550794 h 1860960"/>
              <a:gd name="connsiteX5" fmla="*/ 3086420 w 3396586"/>
              <a:gd name="connsiteY5" fmla="*/ 1860960 h 1860960"/>
              <a:gd name="connsiteX6" fmla="*/ 310166 w 3396586"/>
              <a:gd name="connsiteY6" fmla="*/ 1860960 h 1860960"/>
              <a:gd name="connsiteX7" fmla="*/ 0 w 3396586"/>
              <a:gd name="connsiteY7" fmla="*/ 1550794 h 1860960"/>
              <a:gd name="connsiteX8" fmla="*/ 0 w 3396586"/>
              <a:gd name="connsiteY8" fmla="*/ 310166 h 186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96586" h="1860960">
                <a:moveTo>
                  <a:pt x="0" y="310166"/>
                </a:moveTo>
                <a:cubicBezTo>
                  <a:pt x="0" y="138866"/>
                  <a:pt x="138866" y="0"/>
                  <a:pt x="310166" y="0"/>
                </a:cubicBezTo>
                <a:lnTo>
                  <a:pt x="3086420" y="0"/>
                </a:lnTo>
                <a:cubicBezTo>
                  <a:pt x="3257720" y="0"/>
                  <a:pt x="3396586" y="138866"/>
                  <a:pt x="3396586" y="310166"/>
                </a:cubicBezTo>
                <a:lnTo>
                  <a:pt x="3396586" y="1550794"/>
                </a:lnTo>
                <a:cubicBezTo>
                  <a:pt x="3396586" y="1722094"/>
                  <a:pt x="3257720" y="1860960"/>
                  <a:pt x="3086420" y="1860960"/>
                </a:cubicBezTo>
                <a:lnTo>
                  <a:pt x="310166" y="1860960"/>
                </a:lnTo>
                <a:cubicBezTo>
                  <a:pt x="138866" y="1860960"/>
                  <a:pt x="0" y="1722094"/>
                  <a:pt x="0" y="1550794"/>
                </a:cubicBezTo>
                <a:lnTo>
                  <a:pt x="0" y="310166"/>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11825" tIns="201335" rIns="311825" bIns="201335" numCol="1" spcCol="1270" anchor="ctr" anchorCtr="0">
            <a:noAutofit/>
          </a:bodyPr>
          <a:lstStyle/>
          <a:p>
            <a:pPr marL="0" lvl="0" indent="0" algn="ctr" defTabSz="2578100">
              <a:lnSpc>
                <a:spcPct val="90000"/>
              </a:lnSpc>
              <a:spcBef>
                <a:spcPct val="0"/>
              </a:spcBef>
              <a:spcAft>
                <a:spcPct val="35000"/>
              </a:spcAft>
              <a:buNone/>
            </a:pPr>
            <a:r>
              <a:rPr lang="en-US" sz="6000" kern="1200" dirty="0"/>
              <a:t>Website</a:t>
            </a:r>
          </a:p>
        </p:txBody>
      </p:sp>
      <p:sp>
        <p:nvSpPr>
          <p:cNvPr id="17" name="Freeform: Shape 16">
            <a:extLst>
              <a:ext uri="{FF2B5EF4-FFF2-40B4-BE49-F238E27FC236}">
                <a16:creationId xmlns:a16="http://schemas.microsoft.com/office/drawing/2014/main" id="{600105D3-D10A-D1F8-D8E2-A11BE891D7F3}"/>
              </a:ext>
            </a:extLst>
          </p:cNvPr>
          <p:cNvSpPr/>
          <p:nvPr/>
        </p:nvSpPr>
        <p:spPr>
          <a:xfrm>
            <a:off x="3941807" y="4667348"/>
            <a:ext cx="7714212" cy="1381701"/>
          </a:xfrm>
          <a:custGeom>
            <a:avLst/>
            <a:gdLst>
              <a:gd name="connsiteX0" fmla="*/ 248133 w 1488768"/>
              <a:gd name="connsiteY0" fmla="*/ 0 h 7714211"/>
              <a:gd name="connsiteX1" fmla="*/ 1240635 w 1488768"/>
              <a:gd name="connsiteY1" fmla="*/ 0 h 7714211"/>
              <a:gd name="connsiteX2" fmla="*/ 1488768 w 1488768"/>
              <a:gd name="connsiteY2" fmla="*/ 248133 h 7714211"/>
              <a:gd name="connsiteX3" fmla="*/ 1488768 w 1488768"/>
              <a:gd name="connsiteY3" fmla="*/ 7714211 h 7714211"/>
              <a:gd name="connsiteX4" fmla="*/ 1488768 w 1488768"/>
              <a:gd name="connsiteY4" fmla="*/ 7714211 h 7714211"/>
              <a:gd name="connsiteX5" fmla="*/ 0 w 1488768"/>
              <a:gd name="connsiteY5" fmla="*/ 7714211 h 7714211"/>
              <a:gd name="connsiteX6" fmla="*/ 0 w 1488768"/>
              <a:gd name="connsiteY6" fmla="*/ 7714211 h 7714211"/>
              <a:gd name="connsiteX7" fmla="*/ 0 w 1488768"/>
              <a:gd name="connsiteY7" fmla="*/ 248133 h 7714211"/>
              <a:gd name="connsiteX8" fmla="*/ 248133 w 1488768"/>
              <a:gd name="connsiteY8" fmla="*/ 0 h 7714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88768" h="7714211">
                <a:moveTo>
                  <a:pt x="1488768" y="1285729"/>
                </a:moveTo>
                <a:lnTo>
                  <a:pt x="1488768" y="6428482"/>
                </a:lnTo>
                <a:cubicBezTo>
                  <a:pt x="1488768" y="7138569"/>
                  <a:pt x="1467328" y="7714208"/>
                  <a:pt x="1440881" y="7714208"/>
                </a:cubicBezTo>
                <a:lnTo>
                  <a:pt x="0" y="7714208"/>
                </a:lnTo>
                <a:lnTo>
                  <a:pt x="0" y="7714208"/>
                </a:lnTo>
                <a:lnTo>
                  <a:pt x="0" y="3"/>
                </a:lnTo>
                <a:lnTo>
                  <a:pt x="0" y="3"/>
                </a:lnTo>
                <a:lnTo>
                  <a:pt x="1440881" y="3"/>
                </a:lnTo>
                <a:cubicBezTo>
                  <a:pt x="1467328" y="3"/>
                  <a:pt x="1488768" y="575642"/>
                  <a:pt x="1488768" y="1285729"/>
                </a:cubicBez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9061" tIns="122206" rIns="171736" bIns="122207" numCol="1" spcCol="1270" anchor="ctr" anchorCtr="0">
            <a:noAutofit/>
          </a:bodyPr>
          <a:lstStyle/>
          <a:p>
            <a:pPr marL="228600" lvl="1" indent="-228600" algn="l" defTabSz="1155700">
              <a:lnSpc>
                <a:spcPct val="90000"/>
              </a:lnSpc>
              <a:spcBef>
                <a:spcPct val="0"/>
              </a:spcBef>
              <a:spcAft>
                <a:spcPct val="15000"/>
              </a:spcAft>
              <a:buChar char="•"/>
            </a:pPr>
            <a:r>
              <a:rPr lang="en-US" sz="2600" kern="1200" dirty="0"/>
              <a:t>Implement a “Process </a:t>
            </a:r>
            <a:r>
              <a:rPr lang="en-US" sz="2600" dirty="0"/>
              <a:t>and Deploy” </a:t>
            </a:r>
            <a:r>
              <a:rPr lang="en-US" sz="2600" kern="1200" dirty="0"/>
              <a:t>Workflow</a:t>
            </a:r>
          </a:p>
          <a:p>
            <a:pPr marL="228600" lvl="1" indent="-228600" algn="l" defTabSz="1155700">
              <a:lnSpc>
                <a:spcPct val="90000"/>
              </a:lnSpc>
              <a:spcBef>
                <a:spcPct val="0"/>
              </a:spcBef>
              <a:spcAft>
                <a:spcPct val="15000"/>
              </a:spcAft>
              <a:buChar char="•"/>
            </a:pPr>
            <a:r>
              <a:rPr lang="en-US" sz="2600" kern="1200" dirty="0"/>
              <a:t>$$$,$$$</a:t>
            </a:r>
          </a:p>
          <a:p>
            <a:pPr marL="228600" lvl="1" indent="-228600" defTabSz="1155700">
              <a:lnSpc>
                <a:spcPct val="90000"/>
              </a:lnSpc>
              <a:spcBef>
                <a:spcPct val="0"/>
              </a:spcBef>
              <a:spcAft>
                <a:spcPct val="15000"/>
              </a:spcAft>
              <a:buChar char="•"/>
            </a:pPr>
            <a:r>
              <a:rPr lang="en-US" sz="2600" dirty="0"/>
              <a:t>6-12 months (with deliverables every 4 weeks or less)</a:t>
            </a:r>
            <a:endParaRPr lang="en-US" sz="2600" kern="1200" dirty="0"/>
          </a:p>
        </p:txBody>
      </p:sp>
      <p:sp>
        <p:nvSpPr>
          <p:cNvPr id="18" name="Freeform: Shape 17">
            <a:extLst>
              <a:ext uri="{FF2B5EF4-FFF2-40B4-BE49-F238E27FC236}">
                <a16:creationId xmlns:a16="http://schemas.microsoft.com/office/drawing/2014/main" id="{C4685D4F-CA23-2842-BE47-19D93DEAF903}"/>
              </a:ext>
            </a:extLst>
          </p:cNvPr>
          <p:cNvSpPr/>
          <p:nvPr/>
        </p:nvSpPr>
        <p:spPr>
          <a:xfrm>
            <a:off x="545221" y="4481251"/>
            <a:ext cx="3396586" cy="1727125"/>
          </a:xfrm>
          <a:custGeom>
            <a:avLst/>
            <a:gdLst>
              <a:gd name="connsiteX0" fmla="*/ 0 w 3396586"/>
              <a:gd name="connsiteY0" fmla="*/ 310166 h 1860960"/>
              <a:gd name="connsiteX1" fmla="*/ 310166 w 3396586"/>
              <a:gd name="connsiteY1" fmla="*/ 0 h 1860960"/>
              <a:gd name="connsiteX2" fmla="*/ 3086420 w 3396586"/>
              <a:gd name="connsiteY2" fmla="*/ 0 h 1860960"/>
              <a:gd name="connsiteX3" fmla="*/ 3396586 w 3396586"/>
              <a:gd name="connsiteY3" fmla="*/ 310166 h 1860960"/>
              <a:gd name="connsiteX4" fmla="*/ 3396586 w 3396586"/>
              <a:gd name="connsiteY4" fmla="*/ 1550794 h 1860960"/>
              <a:gd name="connsiteX5" fmla="*/ 3086420 w 3396586"/>
              <a:gd name="connsiteY5" fmla="*/ 1860960 h 1860960"/>
              <a:gd name="connsiteX6" fmla="*/ 310166 w 3396586"/>
              <a:gd name="connsiteY6" fmla="*/ 1860960 h 1860960"/>
              <a:gd name="connsiteX7" fmla="*/ 0 w 3396586"/>
              <a:gd name="connsiteY7" fmla="*/ 1550794 h 1860960"/>
              <a:gd name="connsiteX8" fmla="*/ 0 w 3396586"/>
              <a:gd name="connsiteY8" fmla="*/ 310166 h 186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96586" h="1860960">
                <a:moveTo>
                  <a:pt x="0" y="310166"/>
                </a:moveTo>
                <a:cubicBezTo>
                  <a:pt x="0" y="138866"/>
                  <a:pt x="138866" y="0"/>
                  <a:pt x="310166" y="0"/>
                </a:cubicBezTo>
                <a:lnTo>
                  <a:pt x="3086420" y="0"/>
                </a:lnTo>
                <a:cubicBezTo>
                  <a:pt x="3257720" y="0"/>
                  <a:pt x="3396586" y="138866"/>
                  <a:pt x="3396586" y="310166"/>
                </a:cubicBezTo>
                <a:lnTo>
                  <a:pt x="3396586" y="1550794"/>
                </a:lnTo>
                <a:cubicBezTo>
                  <a:pt x="3396586" y="1722094"/>
                  <a:pt x="3257720" y="1860960"/>
                  <a:pt x="3086420" y="1860960"/>
                </a:cubicBezTo>
                <a:lnTo>
                  <a:pt x="310166" y="1860960"/>
                </a:lnTo>
                <a:cubicBezTo>
                  <a:pt x="138866" y="1860960"/>
                  <a:pt x="0" y="1722094"/>
                  <a:pt x="0" y="1550794"/>
                </a:cubicBezTo>
                <a:lnTo>
                  <a:pt x="0" y="310166"/>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11825" tIns="201335" rIns="311825" bIns="201335" numCol="1" spcCol="1270" anchor="ctr" anchorCtr="0">
            <a:noAutofit/>
          </a:bodyPr>
          <a:lstStyle/>
          <a:p>
            <a:pPr marL="0" lvl="0" indent="0" algn="ctr" defTabSz="2578100">
              <a:lnSpc>
                <a:spcPct val="90000"/>
              </a:lnSpc>
              <a:spcBef>
                <a:spcPct val="0"/>
              </a:spcBef>
              <a:spcAft>
                <a:spcPct val="35000"/>
              </a:spcAft>
              <a:buNone/>
            </a:pPr>
            <a:r>
              <a:rPr lang="en-US" sz="5400" kern="1200" dirty="0"/>
              <a:t>Workflow</a:t>
            </a:r>
          </a:p>
        </p:txBody>
      </p:sp>
      <p:sp>
        <p:nvSpPr>
          <p:cNvPr id="5" name="ReferenceTextPlaceholder">
            <a:extLst>
              <a:ext uri="{FF2B5EF4-FFF2-40B4-BE49-F238E27FC236}">
                <a16:creationId xmlns:a16="http://schemas.microsoft.com/office/drawing/2014/main" id="{FED6AE88-1522-182A-A339-ED9DDD143740}"/>
              </a:ext>
            </a:extLst>
          </p:cNvPr>
          <p:cNvSpPr>
            <a:spLocks noGrp="1"/>
          </p:cNvSpPr>
          <p:nvPr>
            <p:ph type="body" sz="quarter" idx="20"/>
          </p:nvPr>
        </p:nvSpPr>
        <p:spPr/>
        <p:txBody>
          <a:bodyPr/>
          <a:lstStyle/>
          <a:p>
            <a:endParaRPr lang="en-US" dirty="0"/>
          </a:p>
        </p:txBody>
      </p:sp>
      <p:sp>
        <p:nvSpPr>
          <p:cNvPr id="10" name="Rectangle: Rounded Corners 9">
            <a:extLst>
              <a:ext uri="{FF2B5EF4-FFF2-40B4-BE49-F238E27FC236}">
                <a16:creationId xmlns:a16="http://schemas.microsoft.com/office/drawing/2014/main" id="{06CCCC19-93A4-D972-F98E-4F759A5DED2E}"/>
              </a:ext>
            </a:extLst>
          </p:cNvPr>
          <p:cNvSpPr/>
          <p:nvPr/>
        </p:nvSpPr>
        <p:spPr>
          <a:xfrm>
            <a:off x="7257650" y="3957019"/>
            <a:ext cx="4015686" cy="619402"/>
          </a:xfrm>
          <a:prstGeom prst="roundRect">
            <a:avLst/>
          </a:prstGeom>
          <a:solidFill>
            <a:schemeClr val="accent4"/>
          </a:solidFill>
          <a:ln w="5715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bg1"/>
                </a:solidFill>
                <a:hlinkClick r:id="rId6" tooltip="Email Me">
                  <a:extLst>
                    <a:ext uri="{A12FA001-AC4F-418D-AE19-62706E023703}">
                      <ahyp:hlinkClr xmlns:ahyp="http://schemas.microsoft.com/office/drawing/2018/hyperlinkcolor" val="tx"/>
                    </a:ext>
                  </a:extLst>
                </a:hlinkClick>
              </a:rPr>
              <a:t>John@MultimodalSlides.com</a:t>
            </a:r>
            <a:endParaRPr lang="en-US" sz="2400" dirty="0">
              <a:solidFill>
                <a:schemeClr val="bg1"/>
              </a:solidFill>
            </a:endParaRPr>
          </a:p>
        </p:txBody>
      </p:sp>
      <p:sp>
        <p:nvSpPr>
          <p:cNvPr id="11" name="Rectangle: Rounded Corners 10">
            <a:extLst>
              <a:ext uri="{FF2B5EF4-FFF2-40B4-BE49-F238E27FC236}">
                <a16:creationId xmlns:a16="http://schemas.microsoft.com/office/drawing/2014/main" id="{07DD363B-BE42-3405-FEA6-16C8CD9DEAD5}"/>
              </a:ext>
            </a:extLst>
          </p:cNvPr>
          <p:cNvSpPr/>
          <p:nvPr/>
        </p:nvSpPr>
        <p:spPr>
          <a:xfrm>
            <a:off x="7257650" y="2470496"/>
            <a:ext cx="4015686" cy="619402"/>
          </a:xfrm>
          <a:prstGeom prst="round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bg1"/>
                </a:solidFill>
              </a:rPr>
              <a:t>100% Guarantee </a:t>
            </a:r>
          </a:p>
        </p:txBody>
      </p:sp>
      <p:sp>
        <p:nvSpPr>
          <p:cNvPr id="4" name="Rectangle: Rounded Corners 3">
            <a:extLst>
              <a:ext uri="{FF2B5EF4-FFF2-40B4-BE49-F238E27FC236}">
                <a16:creationId xmlns:a16="http://schemas.microsoft.com/office/drawing/2014/main" id="{E89F9F18-DE46-78F4-CFE1-9A10533596BC}"/>
              </a:ext>
            </a:extLst>
          </p:cNvPr>
          <p:cNvSpPr/>
          <p:nvPr/>
        </p:nvSpPr>
        <p:spPr>
          <a:xfrm>
            <a:off x="7257650" y="3211673"/>
            <a:ext cx="4015686" cy="619402"/>
          </a:xfrm>
          <a:prstGeom prst="roundRect">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bg1"/>
                </a:solidFill>
              </a:rPr>
              <a:t>Free Consultation</a:t>
            </a:r>
          </a:p>
        </p:txBody>
      </p:sp>
      <p:sp>
        <p:nvSpPr>
          <p:cNvPr id="7" name="rectHighlight">
            <a:extLst>
              <a:ext uri="{FF2B5EF4-FFF2-40B4-BE49-F238E27FC236}">
                <a16:creationId xmlns:a16="http://schemas.microsoft.com/office/drawing/2014/main" id="{CE4E58DF-0875-4A21-AF01-3D20FCB0212D}"/>
              </a:ext>
            </a:extLst>
          </p:cNvPr>
          <p:cNvSpPr/>
          <p:nvPr/>
        </p:nvSpPr>
        <p:spPr>
          <a:xfrm>
            <a:off x="10178438" y="27881"/>
            <a:ext cx="1965252" cy="588427"/>
          </a:xfrm>
          <a:prstGeom prst="roundRect">
            <a:avLst/>
          </a:prstGeom>
          <a:noFill/>
          <a:ln w="5715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solidFill>
            </a:endParaRPr>
          </a:p>
        </p:txBody>
      </p:sp>
      <p:pic>
        <p:nvPicPr>
          <p:cNvPr id="6" name="Slide6">
            <a:hlinkClick r:id="" action="ppaction://media"/>
            <a:extLst>
              <a:ext uri="{FF2B5EF4-FFF2-40B4-BE49-F238E27FC236}">
                <a16:creationId xmlns:a16="http://schemas.microsoft.com/office/drawing/2014/main" id="{A0426629-9FFD-37D1-10E2-93BE4CCF8160}"/>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1430000" y="6096000"/>
            <a:ext cx="609600" cy="609600"/>
          </a:xfrm>
          <a:prstGeom prst="rect">
            <a:avLst/>
          </a:prstGeom>
        </p:spPr>
      </p:pic>
    </p:spTree>
    <p:custDataLst>
      <p:tags r:id="rId1"/>
    </p:custDataLst>
    <p:extLst>
      <p:ext uri="{BB962C8B-B14F-4D97-AF65-F5344CB8AC3E}">
        <p14:creationId xmlns:p14="http://schemas.microsoft.com/office/powerpoint/2010/main" val="1948209501"/>
      </p:ext>
    </p:extLst>
  </p:cSld>
  <p:clrMapOvr>
    <a:masterClrMapping/>
  </p:clrMapOvr>
  <mc:AlternateContent xmlns:mc="http://schemas.openxmlformats.org/markup-compatibility/2006">
    <mc:Choice xmlns:p14="http://schemas.microsoft.com/office/powerpoint/2010/main" Requires="p14">
      <p:transition spd="slow" p14:dur="2000" advTm="92147"/>
    </mc:Choice>
    <mc:Fallback>
      <p:transition spd="slow" advTm="92147"/>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499"/>
                                          </p:stCondLst>
                                        </p:cTn>
                                        <p:tgtEl>
                                          <p:spTgt spid="6"/>
                                        </p:tgtEl>
                                        <p:attrNameLst>
                                          <p:attrName>style.visibility</p:attrName>
                                        </p:attrNameLst>
                                      </p:cBhvr>
                                      <p:to>
                                        <p:strVal val="visible"/>
                                      </p:to>
                                    </p:set>
                                  </p:childTnLst>
                                </p:cTn>
                              </p:par>
                            </p:childTnLst>
                          </p:cTn>
                        </p:par>
                        <p:par>
                          <p:cTn id="7" fill="hold">
                            <p:stCondLst>
                              <p:cond delay="500"/>
                            </p:stCondLst>
                            <p:childTnLst>
                              <p:par>
                                <p:cTn id="8" presetID="1" presetClass="mediacall" presetSubtype="0" fill="hold" nodeType="afterEffect">
                                  <p:stCondLst>
                                    <p:cond delay="0"/>
                                  </p:stCondLst>
                                  <p:childTnLst>
                                    <p:cmd type="call" cmd="playFrom(0.0)">
                                      <p:cBhvr>
                                        <p:cTn id="9" dur="1" fill="hold"/>
                                        <p:tgtEl>
                                          <p:spTgt spid="6"/>
                                        </p:tgtEl>
                                      </p:cBhvr>
                                    </p:cmd>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14"/>
                                        </p:tgtEl>
                                        <p:attrNameLst>
                                          <p:attrName>style.visibility</p:attrName>
                                        </p:attrNameLst>
                                      </p:cBhvr>
                                      <p:to>
                                        <p:strVal val="visible"/>
                                      </p:to>
                                    </p:set>
                                    <p:animEffect transition="in" filter="fade">
                                      <p:cBhvr>
                                        <p:cTn id="14" dur="500"/>
                                        <p:tgtEl>
                                          <p:spTgt spid="14"/>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5"/>
                                        </p:tgtEl>
                                        <p:attrNameLst>
                                          <p:attrName>style.visibility</p:attrName>
                                        </p:attrNameLst>
                                      </p:cBhvr>
                                      <p:to>
                                        <p:strVal val="visible"/>
                                      </p:to>
                                    </p:set>
                                    <p:animEffect transition="in" filter="fade">
                                      <p:cBhvr>
                                        <p:cTn id="25" dur="500"/>
                                        <p:tgtEl>
                                          <p:spTgt spid="15"/>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18"/>
                                        </p:tgtEl>
                                        <p:attrNameLst>
                                          <p:attrName>style.visibility</p:attrName>
                                        </p:attrNameLst>
                                      </p:cBhvr>
                                      <p:to>
                                        <p:strVal val="visible"/>
                                      </p:to>
                                    </p:set>
                                    <p:animEffect transition="in" filter="fade">
                                      <p:cBhvr>
                                        <p:cTn id="30" dur="500"/>
                                        <p:tgtEl>
                                          <p:spTgt spid="18"/>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7"/>
                                        </p:tgtEl>
                                        <p:attrNameLst>
                                          <p:attrName>style.visibility</p:attrName>
                                        </p:attrNameLst>
                                      </p:cBhvr>
                                      <p:to>
                                        <p:strVal val="visible"/>
                                      </p:to>
                                    </p:set>
                                    <p:animEffect transition="in" filter="fade">
                                      <p:cBhvr>
                                        <p:cTn id="33" dur="500"/>
                                        <p:tgtEl>
                                          <p:spTgt spid="17"/>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11"/>
                                        </p:tgtEl>
                                        <p:attrNameLst>
                                          <p:attrName>style.visibility</p:attrName>
                                        </p:attrNameLst>
                                      </p:cBhvr>
                                      <p:to>
                                        <p:strVal val="visible"/>
                                      </p:to>
                                    </p:set>
                                    <p:animEffect transition="in" filter="fade">
                                      <p:cBhvr>
                                        <p:cTn id="38" dur="500"/>
                                        <p:tgtEl>
                                          <p:spTgt spid="11"/>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4"/>
                                        </p:tgtEl>
                                        <p:attrNameLst>
                                          <p:attrName>style.visibility</p:attrName>
                                        </p:attrNameLst>
                                      </p:cBhvr>
                                      <p:to>
                                        <p:strVal val="visible"/>
                                      </p:to>
                                    </p:set>
                                    <p:animEffect transition="in" filter="fade">
                                      <p:cBhvr>
                                        <p:cTn id="43" dur="500"/>
                                        <p:tgtEl>
                                          <p:spTgt spid="4"/>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10"/>
                                        </p:tgtEl>
                                        <p:attrNameLst>
                                          <p:attrName>style.visibility</p:attrName>
                                        </p:attrNameLst>
                                      </p:cBhvr>
                                      <p:to>
                                        <p:strVal val="visible"/>
                                      </p:to>
                                    </p:set>
                                    <p:animEffect transition="in" filter="fade">
                                      <p:cBhvr>
                                        <p:cTn id="48"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49" fill="hold" display="0">
                  <p:stCondLst>
                    <p:cond delay="indefinite"/>
                  </p:stCondLst>
                  <p:endCondLst>
                    <p:cond evt="onStopAudio" delay="0">
                      <p:tgtEl>
                        <p:sldTgt/>
                      </p:tgtEl>
                    </p:cond>
                  </p:endCondLst>
                </p:cTn>
                <p:tgtEl>
                  <p:spTgt spid="6"/>
                </p:tgtEl>
              </p:cMediaNode>
            </p:audio>
          </p:childTnLst>
        </p:cTn>
      </p:par>
    </p:tnLst>
    <p:bldLst>
      <p:bldP spid="13" grpId="0" animBg="1" autoUpdateAnimBg="0"/>
      <p:bldP spid="14" grpId="0" animBg="1" autoUpdateAnimBg="0"/>
      <p:bldP spid="15" grpId="0" animBg="1" autoUpdateAnimBg="0"/>
      <p:bldP spid="16" grpId="0" animBg="1" autoUpdateAnimBg="0"/>
      <p:bldP spid="17" grpId="0" animBg="1" autoUpdateAnimBg="0"/>
      <p:bldP spid="18" grpId="0" animBg="1" autoUpdateAnimBg="0"/>
      <p:bldP spid="10" grpId="0" animBg="1" autoUpdateAnimBg="0"/>
      <p:bldP spid="11" grpId="0" animBg="1" autoUpdateAnimBg="0"/>
      <p:bldP spid="4" grpId="0" animBg="1" autoUpdateAnimBg="0"/>
    </p:bldLst>
  </p:timing>
</p:sld>
</file>

<file path=ppt/tags/tag1.xml><?xml version="1.0" encoding="utf-8"?>
<p:tagLst xmlns:a="http://schemas.openxmlformats.org/drawingml/2006/main" xmlns:r="http://schemas.openxmlformats.org/officeDocument/2006/relationships" xmlns:p="http://schemas.openxmlformats.org/presentationml/2006/main">
  <p:tag name="ISPRING_UUID" val="{519927E3-8025-4F38-95CB-508BE37397AE}"/>
  <p:tag name="ISPRING_PROJECT_FOLDER_UPDATED" val="1"/>
  <p:tag name="ISPRING_SCORM_RATE_SLIDES" val="1"/>
  <p:tag name="ISPRING_SCORM_RATE_QUIZZES" val="0"/>
  <p:tag name="ISPRING_SCORM_PASSING_SCORE" val="100.000000"/>
  <p:tag name="ISPRING_ULTRA_SCORM_COURSE_ID" val="0A2C0207-CD24-4393-BDB6-72B5513D6A94"/>
  <p:tag name="ISPRING_SCORM_ENDPOINT" val="&lt;endpoint&gt;&lt;enable&gt;0&lt;/enable&gt;&lt;lrs&gt;http://&lt;/lrs&gt;&lt;auth&gt;0&lt;/auth&gt;&lt;login&gt;&lt;/login&gt;&lt;password&gt;&lt;/password&gt;&lt;key&gt;&lt;/key&gt;&lt;name&gt;&lt;/name&gt;&lt;email&gt;&lt;/email&gt;&lt;/endpoint&gt;&#10;"/>
  <p:tag name="ISPRINGONLINEFOLDERID" val="0"/>
  <p:tag name="ISPRINGONLINEFOLDERPATH" val="Content List"/>
  <p:tag name="ISPRINGCLOUDFOLDERID" val="0"/>
  <p:tag name="ISPRINGCLOUDFOLDERPATH" val="Repository"/>
  <p:tag name="ISPRING_PLAYERS_CUSTOMIZATION" val="UEsDBBQAAgAIAMgCcEgNwDEewAEAANoDAAAPAAAAbm9uZS9wbGF5ZXIueG1spZJPb9QwEMXPW6nfIfK9dpYKUa0cekDKiaJKC4jbyptME1PHDp4Ju/vtmfzZpFuQQOKQaPIy72fPs/X9sXHJT4hog8/EWqYiAV+E0voqE18+5zd34v799ZVunTlBTGyZCR88iKQELKJtiX2PhupMvBAkQ0XCL4+bI9pM1ETtRqnD4SAPtzLESr1J07X69vBxW9TQmBvrkYwvmLvs5VYkbbQhWjpl4l0qrq9WA/ICZ5F7fIXBdf3KKIvQqDYCgieIatz2bN3Q3838NMErOrWAgkdfDbPvTfH8EMrOAfbaSo9tWyDqCYO20rSx6zufYCwyMTbsGkA0FaB0vhJq9Ko/mPWTM1hPHLzA9ty22zuLNYsjfejeLerubBmyVxNHXYJ0M0wwnGLeOZeDoS5CKZIIPzrLVd5jv85HkK7FuJzn7h0+Wy/xULDGVW4KCvH0gR18JFOUco5ejtHLwdTbh+ITF49TnNsFMgezhKBratzbf86j7/6fOEp4Mp0jcV7B+hKOueW/BA2PQsAz9pqk1sl+tTOVd9ftmxdX40Iadzdl8R1FQiZWwNewNGTUos8w9Zqm1fg5JTTHotXv91JPRC5/AVBLAQIAABQAAgAIAMgCcEgNwDEewAEAANoDAAAPAAAAAAAAAAEAAAAAAAAAAABub25lL3BsYXllci54bWxQSwUGAAAAAAEAAQA9AAAA7QEAAAAA"/>
  <p:tag name="ISPRING_OUTPUT_FOLDER" val="C:\data\dev\svn01\master\trunk\ICompareSolutions\nopCommerce\PPT\HTML"/>
  <p:tag name="ISPRING_PRESENTATION_TITLE" val="Getting Started"/>
  <p:tag name="ISPRING_RESOURCE_FOLDER" val="C:\data\dev\tfs\ICompareSolutions\trunk\ICS\nopCommerce\Docu\Getting Started"/>
  <p:tag name="ISPRING_PRESENTATION_PATH" val="C:\data\dev\tfs\ICompareSolutions\trunk\ICS\nopCommerce\Docu\Getting Started.pptx"/>
  <p:tag name="FLASHSPRING_ZOOM_TAG" val="57"/>
  <p:tag name="ISPRING_PRESENTATION_INFO_2" val="&lt;?xml version=&quot;1.0&quot; encoding=&quot;UTF-8&quot; standalone=&quot;no&quot; ?&gt;&#10;&lt;presentation2&gt;&#10;&#10;  &lt;slides&gt;&#10;    &lt;slide id=&quot;{9997C299-05CE-4352-A1D0-BDD944B6684D}&quot; pptId=&quot;256&quot;/&gt;&#10;    &lt;slide id=&quot;{888BD8AB-D23C-4C42-9520-55BEFA0F7695}&quot; pptId=&quot;257&quot;/&gt;&#10;    &lt;slide id=&quot;{352DFA60-FA44-4D6A-828D-0EC2003B2CC2}&quot; pptId=&quot;259&quot;/&gt;&#10;    &lt;slide id=&quot;{74072B88-D699-4D1C-9EE8-A2E129FB13D1}&quot; pptId=&quot;260&quot;/&gt;&#10;    &lt;slide id=&quot;{05A2303B-DB3E-435E-AC99-D0AF7CB09BA4}&quot; pptId=&quot;297&quot;/&gt;&#10;    &lt;slide id=&quot;{FC5269EF-1FB8-4E78-9171-2EDF2EF264B8}&quot; pptId=&quot;298&quot;/&gt;&#10;    &lt;slide id=&quot;{BC4710BC-1DC8-4EE8-B19B-7A05672DFF10}&quot; pptId=&quot;300&quot;/&gt;&#10;    &lt;slide id=&quot;{56D64610-DD40-4C4A-B2FA-20D5A5D77012}&quot; pptId=&quot;299&quot;/&gt;&#10;    &lt;slide id=&quot;{5375A620-D066-4795-871D-4862D9810793}&quot; pptId=&quot;261&quot;/&gt;&#10;    &lt;slide id=&quot;{C1820E01-7ACA-4DCA-A42D-048567B9B7E8}&quot; pptId=&quot;262&quot;/&gt;&#10;    &lt;slide id=&quot;{02571F0A-EF23-4253-A3CF-5D74404392D4}&quot; pptId=&quot;263&quot;/&gt;&#10;    &lt;slide id=&quot;{D33AA48D-0240-4DEF-8EEB-A3D349EE5BCF}&quot; pptId=&quot;264&quot;/&gt;&#10;    &lt;slide id=&quot;{99544561-E355-40BE-B7E0-A4DDDB241F00}&quot; pptId=&quot;265&quot;/&gt;&#10;    &lt;slide id=&quot;{4250DF6F-90BE-4972-B71F-F80719764A4B}&quot; pptId=&quot;266&quot;/&gt;&#10;    &lt;slide id=&quot;{931D2BCC-736D-4721-83BB-A06B7A7AF0A3}&quot; pptId=&quot;267&quot;/&gt;&#10;    &lt;slide id=&quot;{26E867D4-0DCF-4985-A414-C36C39E1DC83}&quot; pptId=&quot;268&quot;/&gt;&#10;    &lt;slide id=&quot;{1462718C-0B47-4A87-97CF-321B7D11D115}&quot; pptId=&quot;269&quot;/&gt;&#10;    &lt;slide id=&quot;{961F6F04-30BF-4B66-97D4-69B3E8F141F4}&quot; pptId=&quot;270&quot;/&gt;&#10;    &lt;slide id=&quot;{0C3B9859-139E-458E-84B3-B6AB2AA9FCD3}&quot; pptId=&quot;271&quot;/&gt;&#10;    &lt;slide id=&quot;{5C4D8EBC-99EC-4B84-9003-E1DC6956956C}&quot; pptId=&quot;272&quot;/&gt;&#10;    &lt;slide id=&quot;{AD25239A-93D4-45E0-82F0-681B50E82797}&quot; pptId=&quot;273&quot;/&gt;&#10;    &lt;slide id=&quot;{6E3D7169-916F-4119-9B1A-E295B770761F}&quot; pptId=&quot;274&quot;/&gt;&#10;    &lt;slide id=&quot;{FC72BFC9-63DD-4B06-AFAF-BFD30806CDFE}&quot; pptId=&quot;275&quot;/&gt;&#10;    &lt;slide id=&quot;{D71AEAAA-B375-44B0-980E-C80771A1C3E0}&quot; pptId=&quot;277&quot;/&gt;&#10;    &lt;slide id=&quot;{B466B521-B17A-4964-BB9B-5E56C5D093C5}&quot; pptId=&quot;278&quot;/&gt;&#10;    &lt;slide id=&quot;{483CE5B5-BDE8-4CD8-B23D-80D687A77B5B}&quot; pptId=&quot;279&quot;/&gt;&#10;    &lt;slide id=&quot;{8A53C3A1-B0A1-4320-B355-97733151C9B8}&quot; pptId=&quot;280&quot;/&gt;&#10;    &lt;slide id=&quot;{3BB05469-A5EC-488A-94A4-BD88BD038938}&quot; pptId=&quot;276&quot;/&gt;&#10;    &lt;slide id=&quot;{A78E5078-7D4B-4F12-BDD0-D1614758E41C}&quot; pptId=&quot;281&quot;/&gt;&#10;    &lt;slide id=&quot;{8DF886E9-4FA2-4719-93DF-F95ADB2E2C89}&quot; pptId=&quot;282&quot;/&gt;&#10;    &lt;slide id=&quot;{290A9993-55AB-4656-9900-635958B4ED13}&quot; pptId=&quot;283&quot;/&gt;&#10;    &lt;slide id=&quot;{151600FE-CF82-46AA-BEC9-08E723DC88AC}&quot; pptId=&quot;284&quot;/&gt;&#10;    &lt;slide id=&quot;{58580DE5-C5E1-4B4A-B949-90F1073B0E8B}&quot; pptId=&quot;287&quot;/&gt;&#10;    &lt;slide id=&quot;{2E9AD53E-1518-4F51-B959-B2D61E1E527C}&quot; pptId=&quot;288&quot;/&gt;&#10;    &lt;slide id=&quot;{B648350E-16F0-40F9-BFB8-79241FD50FC6}&quot; pptId=&quot;289&quot;/&gt;&#10;    &lt;slide id=&quot;{00A729DE-4287-4DB3-9510-19F171EC2673}&quot; pptId=&quot;285&quot;/&gt;&#10;    &lt;slide id=&quot;{3691B7E8-064C-4F0A-BEE2-0DE02EB33EE5}&quot; pptId=&quot;286&quot;/&gt;&#10;    &lt;slide id=&quot;{FF7DDA51-F8E0-411F-8DF4-18737B5659C0}&quot; pptId=&quot;290&quot;/&gt;&#10;    &lt;slide id=&quot;{36D48702-F0AA-4E7E-B1CF-746154994615}&quot; pptId=&quot;291&quot;/&gt;&#10;    &lt;slide id=&quot;{1518DA98-0E89-4D23-8495-E0D2B86E540B}&quot; pptId=&quot;292&quot;/&gt;&#10;    &lt;slide id=&quot;{AF1A7B40-17A8-4876-AE7B-BA42949AF29E}&quot; pptId=&quot;293&quot;/&gt;&#10;    &lt;slide id=&quot;{1B99271D-7F48-4A46-A0EE-9C69CA56F602}&quot; pptId=&quot;294&quot;/&gt;&#10;    &lt;slide id=&quot;{AA14240F-FE6E-49B6-8083-22EFA1C41C49}&quot; pptId=&quot;295&quot;/&gt;&#10;    &lt;slide id=&quot;{52A9D74C-D8EA-43CF-8A12-29DC9F9EF6C5}&quot; pptId=&quot;296&quot;/&gt;&#10;  &lt;/slides&gt;&#10;&#10;  &lt;narration&gt;&#10;    &lt;audioTracks/&gt;&#10;    &lt;videoTracks/&gt;&#10;  &lt;/narration&gt;&#10;&#10;&lt;/presentation2&gt;&#10;"/>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UBAQEBAQEBAQEBAQEBAQIAAAAAAAAAAwAAAAMAAAAA/////wQAPwwAAAAAAAAAAAAAIAD///////////////8AAAD///////////////8DAAAAAwD///////8DAAAAAwD///////////////////////////////////////////////////////////////////////////////////////////////////////////////////////////////////////////////////////////////////////////////////////////////////////////////////////////////////////////////////////////////////////////////////////////////////////////////////////////////////////////////////////////////////////////////////////////////////////////////////////////////////////////////////////////////////////////////////////////////8BACAA////////////////AAAO////////AwAAAAIA////////////////////////////////////////////////////////////////////////////////////////////////////////////////////////////////////////////////////////////////////////////////////////////////////////////////////////////////////////////////////////////////////////////////////////////////////////////////////////////////////////////////////////////////////////////////////////////////////////////////////////////////////////////////////////////////////////////////////////////////////////////////////////AgABAP///////wQAAAACABAAC6u4eseMDNhNg3+CwA+1Q/0FAAAAAAADAAAAAwADAAAAAQADAAIA////////BAAAAAMAEAALcjKOYam7okSDWY/WPlev4gUAAAABAAMAAAAAAAMAAAACAAMAAAAA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NgLAAAAAAAAAAAAACAB////////////////AAAA////////////////BAAAAAMA////////BAAAAAMA////////BAAAAAMA////////BAAAAAMA////////BAAAAAIA////////////////////////////////////////////////////////////////////////////////////////////////////////////////////////////////////////////////////////////////////////////////////////////////////////////////////////////////////////////////////////////////////////////////////////////////////////////////////////////////////////////////////////////////////////////////////////////////////////////////////////////////////////////////AQAgAf///////////////wAADv///////wQAAAACAP///////////////////////////////////////////////////////////////////////////////////////////////////////////////////////////////////////////////////////////////////////////////////////////////////////////////////////////////////////////////////////////////////////////////////////////////////////////////////////////////////////////////////////////////////////////////////////////////////////////////////////////////////////////////////////////////////////////////////////////////////////////////////////wIABQEDAAAAAgD///////8aAAZMaW5rZWRTaGFwZXNEYXRhUHJvcGVydHlfMAUAAAAAAAQAAAADAAQAAAABAAQAAAADAP///////wQAAAADAP///////wQAAAADAP///////wQAAAAAAP///////wMABAEDAAAAAwD///////8lAAZMaW5rZWRTaGFwZVByZXNlbnRhdGlvblNldHRpbmdzRGF0YV8wBQAAAAEABAAAAAAABAAAAAIABAAAAAAABAAAAAI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Ku4eseMDNhNg3+CwA+1Q/0DRGF0YQAbAAAABExpbmtlZFNoYXBlRGF0YQAFAAAAAAACTmFtZQAZAAAATGlua2VkU2hhcGVzRGF0YVByb3BlcnR5ABBWZXJzaW9uAAAAAAAJTGFzdFdyaXRlAHCMLDR6AQAAAAEA/////50AnQAAAAVfaWQAEAAAAARyMo5hqbuiRINZj9Y+V6/iA0RhdGEAKgAAAAhQcmVzZW50YXRpb25TY2FubmVkRm9yTGlua2VkU2hhcGVzAAEAAk5hbWUAJAAAAExpbmtlZFNoYXBlUHJlc2VudGF0aW9uU2V0dGluZ3NEYXRhABBWZXJzaW9uAAAAAAAJTGFzdFdyaXRlAC2NLDR6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ags/tag2.xml><?xml version="1.0" encoding="utf-8"?>
<p:tagLst xmlns:a="http://schemas.openxmlformats.org/drawingml/2006/main" xmlns:r="http://schemas.openxmlformats.org/officeDocument/2006/relationships" xmlns:p="http://schemas.openxmlformats.org/presentationml/2006/main">
  <p:tag name="BRIGHTSLIDE_SLIDE_COLLAPSED" val="TRUE"/>
  <p:tag name="TIMING" val="|7.4|8.2|7.1|9.1|7.2|5.2|8.4|9.4"/>
</p:tagLst>
</file>

<file path=ppt/tags/tag3.xml><?xml version="1.0" encoding="utf-8"?>
<p:tagLst xmlns:a="http://schemas.openxmlformats.org/drawingml/2006/main" xmlns:r="http://schemas.openxmlformats.org/officeDocument/2006/relationships" xmlns:p="http://schemas.openxmlformats.org/presentationml/2006/main">
  <p:tag name="BRIGHTSLIDE_SLIDE_COLLAPSED" val="TRUE"/>
  <p:tag name="TIMING" val="|7.6|5.4|7.5|7.9|7.5|16.3|22.8"/>
</p:tagLst>
</file>

<file path=ppt/tags/tag4.xml><?xml version="1.0" encoding="utf-8"?>
<p:tagLst xmlns:a="http://schemas.openxmlformats.org/drawingml/2006/main" xmlns:r="http://schemas.openxmlformats.org/officeDocument/2006/relationships" xmlns:p="http://schemas.openxmlformats.org/presentationml/2006/main">
  <p:tag name="BRIGHTSLIDE_SLIDE_COLLAPSED" val="TRUE"/>
  <p:tag name="TIMING" val="|6.3|10.5|12.4|18.5|25.8|5.7|4.7|3.6|4.5|6.6|14.7"/>
</p:tagLst>
</file>

<file path=ppt/tags/tag5.xml><?xml version="1.0" encoding="utf-8"?>
<p:tagLst xmlns:a="http://schemas.openxmlformats.org/drawingml/2006/main" xmlns:r="http://schemas.openxmlformats.org/officeDocument/2006/relationships" xmlns:p="http://schemas.openxmlformats.org/presentationml/2006/main">
  <p:tag name="BRIGHTSLIDE_SLIDE_COLLAPSED" val="TRUE"/>
  <p:tag name="TIMING" val="|5.7|19.0|18.2|18.4"/>
</p:tagLst>
</file>

<file path=ppt/tags/tag6.xml><?xml version="1.0" encoding="utf-8"?>
<p:tagLst xmlns:a="http://schemas.openxmlformats.org/drawingml/2006/main" xmlns:r="http://schemas.openxmlformats.org/officeDocument/2006/relationships" xmlns:p="http://schemas.openxmlformats.org/presentationml/2006/main">
  <p:tag name="TIMING" val="|3.2|9.0|15.9|4.3|11.4|7.1|9.3|13.2"/>
</p:tagLst>
</file>

<file path=ppt/tags/tag7.xml><?xml version="1.0" encoding="utf-8"?>
<p:tagLst xmlns:a="http://schemas.openxmlformats.org/drawingml/2006/main" xmlns:r="http://schemas.openxmlformats.org/officeDocument/2006/relationships" xmlns:p="http://schemas.openxmlformats.org/presentationml/2006/main">
  <p:tag name="TIMING" val="|5.0|14.3|15.4|17.7|4.3|4.8|30.7"/>
</p:tagLst>
</file>

<file path=ppt/theme/theme1.xml><?xml version="1.0" encoding="utf-8"?>
<a:theme xmlns:a="http://schemas.openxmlformats.org/drawingml/2006/main" name="Office Theme">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3" Type="http://schemas.microsoft.com/office/2011/relationships/webextension" Target="webextension3.xml"/><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19" row="0">
    <wetp:webextensionref xmlns:r="http://schemas.openxmlformats.org/officeDocument/2006/relationships" r:id="rId1"/>
  </wetp:taskpane>
  <wetp:taskpane dockstate="right" visibility="0" width="350" row="6">
    <wetp:webextensionref xmlns:r="http://schemas.openxmlformats.org/officeDocument/2006/relationships" r:id="rId2"/>
  </wetp:taskpane>
  <wetp:taskpane dockstate="right" visibility="0" width="350" row="0">
    <wetp:webextensionref xmlns:r="http://schemas.openxmlformats.org/officeDocument/2006/relationships" r:id="rId3"/>
  </wetp:taskpane>
</wetp:taskpanes>
</file>

<file path=ppt/webextensions/webextension1.xml><?xml version="1.0" encoding="utf-8"?>
<we:webextension xmlns:we="http://schemas.microsoft.com/office/webextensions/webextension/2010/11" id="{43DD89DE-872F-4BA2-A2F4-536705A2EC75}">
  <we:reference id="wa104380862" version="1.5.0.0" store="en-US" storeType="OMEX"/>
  <we:alternateReferences>
    <we:reference id="WA104380862" version="1.5.0.0" store="" storeType="OMEX"/>
  </we:alternateReferences>
  <we:properties/>
  <we:bindings/>
  <we:snapshot xmlns:r="http://schemas.openxmlformats.org/officeDocument/2006/relationships"/>
</we:webextension>
</file>

<file path=ppt/webextensions/webextension2.xml><?xml version="1.0" encoding="utf-8"?>
<we:webextension xmlns:we="http://schemas.microsoft.com/office/webextensions/webextension/2010/11" id="{48C1BBE1-F345-4E4A-8D74-B2918153D57D}">
  <we:reference id="wa104178141" version="4.3.3.0" store="en-US" storeType="OMEX"/>
  <we:alternateReferences>
    <we:reference id="WA104178141" version="4.3.3.0" store="" storeType="OMEX"/>
  </we:alternateReferences>
  <we:properties/>
  <we:bindings/>
  <we:snapshot xmlns:r="http://schemas.openxmlformats.org/officeDocument/2006/relationships"/>
</we:webextension>
</file>

<file path=ppt/webextensions/webextension3.xml><?xml version="1.0" encoding="utf-8"?>
<we:webextension xmlns:we="http://schemas.microsoft.com/office/webextensions/webextension/2010/11" id="{341B8CF9-30EE-4D19-81BD-AA67BE384DD1}">
  <we:reference id="e43516e2-e818-470a-8c6b-aaf8f6ec41c4" version="1.0.0.0" store="developer" storeType="Registry"/>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tns:customPropertyEditors xmlns:tns="http://schemas.microsoft.com/office/2006/customDocumentInformationPanel">
  <tns:showOnOpen>false</tns:showOnOpen>
  <tns:defaultPropertyEditorNamespace>Standard properties</tns:defaultPropertyEditorNamespace>
</tns:customPropertyEditors>
</file>

<file path=customXml/item2.xml><?xml version="1.0" encoding="utf-8"?>
<Control xmlns="http://schemas.microsoft.com/VisualStudio/2011/storyboarding/control">
  <Id Name="System.Storyboarding.Icons.User" Revision="1" Stencil="System.Storyboarding.Icons" StencilVersion="0.1"/>
</Control>
</file>

<file path=customXml/item3.xml><?xml version="1.0" encoding="utf-8"?>
<Control xmlns="http://schemas.microsoft.com/VisualStudio/2011/storyboarding/control">
  <Id Name="System.Storyboarding.Icons.User" Revision="1" Stencil="System.Storyboarding.Icons" StencilVersion="0.1"/>
</Control>
</file>

<file path=customXml/item4.xml><?xml version="1.0" encoding="utf-8"?>
<Control xmlns="http://schemas.microsoft.com/VisualStudio/2011/storyboarding/control">
  <Id Name="14f785bc-406b-4090-b0be-3928ddd464fd" Revision="1" Stencil="95d77ba2-a723-4444-8582-8a845df3a24b" StencilVersion="1.0"/>
</Control>
</file>

<file path=customXml/item5.xml><?xml version="1.0" encoding="utf-8"?>
<Control xmlns="http://schemas.microsoft.com/VisualStudio/2011/storyboarding/control">
  <Id Name="System.Storyboarding.Icons.User" Revision="1" Stencil="System.Storyboarding.Icons" StencilVersion="0.1"/>
</Control>
</file>

<file path=customXml/itemProps1.xml><?xml version="1.0" encoding="utf-8"?>
<ds:datastoreItem xmlns:ds="http://schemas.openxmlformats.org/officeDocument/2006/customXml" ds:itemID="{F8F907AC-A3A8-4805-9838-09E933955304}">
  <ds:schemaRefs>
    <ds:schemaRef ds:uri="http://schemas.microsoft.com/office/2006/customDocumentInformationPanel"/>
  </ds:schemaRefs>
</ds:datastoreItem>
</file>

<file path=customXml/itemProps2.xml><?xml version="1.0" encoding="utf-8"?>
<ds:datastoreItem xmlns:ds="http://schemas.openxmlformats.org/officeDocument/2006/customXml" ds:itemID="{EBDE7F79-D27B-4E0A-A9F1-7145E0708CAA}">
  <ds:schemaRefs>
    <ds:schemaRef ds:uri="http://schemas.microsoft.com/VisualStudio/2011/storyboarding/control"/>
  </ds:schemaRefs>
</ds:datastoreItem>
</file>

<file path=customXml/itemProps3.xml><?xml version="1.0" encoding="utf-8"?>
<ds:datastoreItem xmlns:ds="http://schemas.openxmlformats.org/officeDocument/2006/customXml" ds:itemID="{ECE9AA73-7F12-4744-A390-EB82753A2EC9}">
  <ds:schemaRefs>
    <ds:schemaRef ds:uri="http://schemas.microsoft.com/VisualStudio/2011/storyboarding/control"/>
  </ds:schemaRefs>
</ds:datastoreItem>
</file>

<file path=customXml/itemProps4.xml><?xml version="1.0" encoding="utf-8"?>
<ds:datastoreItem xmlns:ds="http://schemas.openxmlformats.org/officeDocument/2006/customXml" ds:itemID="{22647BEE-9623-464A-8697-B6C2D6580188}">
  <ds:schemaRefs>
    <ds:schemaRef ds:uri="http://schemas.microsoft.com/VisualStudio/2011/storyboarding/control"/>
  </ds:schemaRefs>
</ds:datastoreItem>
</file>

<file path=customXml/itemProps5.xml><?xml version="1.0" encoding="utf-8"?>
<ds:datastoreItem xmlns:ds="http://schemas.openxmlformats.org/officeDocument/2006/customXml" ds:itemID="{C4387F30-4284-4394-80BE-D1C13776D949}">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emplate/>
  <TotalTime>366743</TotalTime>
  <Words>1963</Words>
  <Application>Microsoft Office PowerPoint</Application>
  <PresentationFormat>Widescreen</PresentationFormat>
  <Paragraphs>162</Paragraphs>
  <Slides>6</Slides>
  <Notes>6</Notes>
  <HiddenSlides>0</HiddenSlides>
  <MMClips>6</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6</vt:i4>
      </vt:variant>
    </vt:vector>
  </HeadingPairs>
  <TitlesOfParts>
    <vt:vector size="13" baseType="lpstr">
      <vt:lpstr>Aptos</vt:lpstr>
      <vt:lpstr>Arial</vt:lpstr>
      <vt:lpstr>Calibri</vt:lpstr>
      <vt:lpstr>Calibri Light</vt:lpstr>
      <vt:lpstr>Segoe UI</vt:lpstr>
      <vt:lpstr>SF Pro Display</vt:lpstr>
      <vt:lpstr>Office Theme</vt:lpstr>
      <vt:lpstr>Home</vt:lpstr>
      <vt:lpstr>Create</vt:lpstr>
      <vt:lpstr>Convert</vt:lpstr>
      <vt:lpstr>Publish</vt:lpstr>
      <vt:lpstr>Roadmap</vt:lpstr>
      <vt:lpstr>Op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opCommerce Top 10</dc:title>
  <dc:creator>John Baluka</dc:creator>
  <cp:lastModifiedBy>John Baluka</cp:lastModifiedBy>
  <cp:revision>808</cp:revision>
  <dcterms:created xsi:type="dcterms:W3CDTF">2016-02-25T05:05:50Z</dcterms:created>
  <dcterms:modified xsi:type="dcterms:W3CDTF">2025-02-17T02:24: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fs.IsStoryboard">
    <vt:bool>true</vt:bool>
  </property>
  <property fmtid="{D5CDD505-2E9C-101B-9397-08002B2CF9AE}" pid="3" name="Tfs.LastKnownPath">
    <vt:lpwstr>https://d.docs.live.net/7068dd7de4bf55dd/Presentations/JohnBalukaCom/JohnBalukaCom.pptx</vt:lpwstr>
  </property>
</Properties>
</file>